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6" r:id="rId1"/>
  </p:sldMasterIdLst>
  <p:notesMasterIdLst>
    <p:notesMasterId r:id="rId31"/>
  </p:notesMasterIdLst>
  <p:handoutMasterIdLst>
    <p:handoutMasterId r:id="rId32"/>
  </p:handoutMasterIdLst>
  <p:sldIdLst>
    <p:sldId id="286" r:id="rId2"/>
    <p:sldId id="2147375319" r:id="rId3"/>
    <p:sldId id="2147375320" r:id="rId4"/>
    <p:sldId id="2147375297" r:id="rId5"/>
    <p:sldId id="2147375298" r:id="rId6"/>
    <p:sldId id="2147375299" r:id="rId7"/>
    <p:sldId id="2147375321" r:id="rId8"/>
    <p:sldId id="2147375302" r:id="rId9"/>
    <p:sldId id="2147375301" r:id="rId10"/>
    <p:sldId id="2147375303" r:id="rId11"/>
    <p:sldId id="2147375334" r:id="rId12"/>
    <p:sldId id="2147375310" r:id="rId13"/>
    <p:sldId id="2147375311" r:id="rId14"/>
    <p:sldId id="2147375314" r:id="rId15"/>
    <p:sldId id="2147375322" r:id="rId16"/>
    <p:sldId id="2147375307" r:id="rId17"/>
    <p:sldId id="2147375332" r:id="rId18"/>
    <p:sldId id="2147375333" r:id="rId19"/>
    <p:sldId id="2147375304" r:id="rId20"/>
    <p:sldId id="2147375323" r:id="rId21"/>
    <p:sldId id="2147375305" r:id="rId22"/>
    <p:sldId id="2147375306" r:id="rId23"/>
    <p:sldId id="2147375324" r:id="rId24"/>
    <p:sldId id="2147375325" r:id="rId25"/>
    <p:sldId id="2147375326" r:id="rId26"/>
    <p:sldId id="2147375329" r:id="rId27"/>
    <p:sldId id="2147375328" r:id="rId28"/>
    <p:sldId id="2147375327" r:id="rId29"/>
    <p:sldId id="2147375330" r:id="rId30"/>
  </p:sldIdLst>
  <p:sldSz cx="9144000" cy="5143500" type="screen16x9"/>
  <p:notesSz cx="7099300" cy="10234613"/>
  <p:custDataLst>
    <p:tags r:id="rId33"/>
  </p:custDataLst>
  <p:defaultTextStyle>
    <a:defPPr>
      <a:defRPr lang="de-DE"/>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Eling" initials="SE" lastIdx="19" clrIdx="0"/>
  <p:cmAuthor id="2" name="Barbara Weber" initials="BW"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D"/>
    <a:srgbClr val="CFD1D8"/>
    <a:srgbClr val="0000FF"/>
    <a:srgbClr val="C60CA3"/>
    <a:srgbClr val="2CA67B"/>
    <a:srgbClr val="ACADB5"/>
    <a:srgbClr val="757984"/>
    <a:srgbClr val="DCDDE0"/>
    <a:srgbClr val="BABCC1"/>
    <a:srgbClr val="ABDB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908" autoAdjust="0"/>
    <p:restoredTop sz="96215" autoAdjust="0"/>
  </p:normalViewPr>
  <p:slideViewPr>
    <p:cSldViewPr snapToGrid="0" showGuides="1">
      <p:cViewPr varScale="1">
        <p:scale>
          <a:sx n="110" d="100"/>
          <a:sy n="110" d="100"/>
        </p:scale>
        <p:origin x="893" y="67"/>
      </p:cViewPr>
      <p:guideLst>
        <p:guide orient="horz" pos="1620"/>
        <p:guide pos="2880"/>
      </p:guideLst>
    </p:cSldViewPr>
  </p:slideViewPr>
  <p:outlineViewPr>
    <p:cViewPr>
      <p:scale>
        <a:sx n="33" d="100"/>
        <a:sy n="33" d="100"/>
      </p:scale>
      <p:origin x="0" y="-12756"/>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81" d="100"/>
          <a:sy n="81" d="100"/>
        </p:scale>
        <p:origin x="3894"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ustomXml" Target="../customXml/item1.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de-DE" dirty="0"/>
          </a:p>
        </p:txBody>
      </p:sp>
      <p:sp>
        <p:nvSpPr>
          <p:cNvPr id="3" name="Datumsplatzhalter 2"/>
          <p:cNvSpPr>
            <a:spLocks noGrp="1"/>
          </p:cNvSpPr>
          <p:nvPr>
            <p:ph type="dt" sz="quarter" idx="1"/>
          </p:nvPr>
        </p:nvSpPr>
        <p:spPr>
          <a:xfrm>
            <a:off x="4021294" y="0"/>
            <a:ext cx="3076363" cy="513508"/>
          </a:xfrm>
          <a:prstGeom prst="rect">
            <a:avLst/>
          </a:prstGeom>
        </p:spPr>
        <p:txBody>
          <a:bodyPr vert="horz" lIns="99048" tIns="49524" rIns="99048" bIns="49524" rtlCol="0"/>
          <a:lstStyle>
            <a:lvl1pPr algn="r">
              <a:defRPr sz="1300"/>
            </a:lvl1pPr>
          </a:lstStyle>
          <a:p>
            <a:fld id="{98ED7A52-5983-40AC-8FA8-C7ACF781CB20}" type="datetimeFigureOut">
              <a:rPr lang="de-DE" smtClean="0"/>
              <a:pPr/>
              <a:t>20.06.2023</a:t>
            </a:fld>
            <a:endParaRPr lang="de-DE" dirty="0"/>
          </a:p>
        </p:txBody>
      </p:sp>
      <p:sp>
        <p:nvSpPr>
          <p:cNvPr id="4" name="Fußzeilenplatzhalter 3"/>
          <p:cNvSpPr>
            <a:spLocks noGrp="1"/>
          </p:cNvSpPr>
          <p:nvPr>
            <p:ph type="ftr" sz="quarter" idx="2"/>
          </p:nvPr>
        </p:nvSpPr>
        <p:spPr>
          <a:xfrm>
            <a:off x="0" y="9721107"/>
            <a:ext cx="3076363" cy="513507"/>
          </a:xfrm>
          <a:prstGeom prst="rect">
            <a:avLst/>
          </a:prstGeom>
        </p:spPr>
        <p:txBody>
          <a:bodyPr vert="horz" lIns="99048" tIns="49524" rIns="99048" bIns="49524" rtlCol="0" anchor="b"/>
          <a:lstStyle>
            <a:lvl1pPr algn="l">
              <a:defRPr sz="1300"/>
            </a:lvl1pPr>
          </a:lstStyle>
          <a:p>
            <a:endParaRPr lang="de-DE" dirty="0"/>
          </a:p>
        </p:txBody>
      </p:sp>
      <p:sp>
        <p:nvSpPr>
          <p:cNvPr id="5" name="Foliennummernplatzhalter 4"/>
          <p:cNvSpPr>
            <a:spLocks noGrp="1"/>
          </p:cNvSpPr>
          <p:nvPr>
            <p:ph type="sldNum" sz="quarter" idx="3"/>
          </p:nvPr>
        </p:nvSpPr>
        <p:spPr>
          <a:xfrm>
            <a:off x="4021294" y="9721107"/>
            <a:ext cx="3076363" cy="513507"/>
          </a:xfrm>
          <a:prstGeom prst="rect">
            <a:avLst/>
          </a:prstGeom>
        </p:spPr>
        <p:txBody>
          <a:bodyPr vert="horz" lIns="99048" tIns="49524" rIns="99048" bIns="49524" rtlCol="0" anchor="b"/>
          <a:lstStyle>
            <a:lvl1pPr algn="r">
              <a:defRPr sz="1300"/>
            </a:lvl1pPr>
          </a:lstStyle>
          <a:p>
            <a:fld id="{BA2A0F96-F2B8-4D93-A965-3FB9AA3929F1}" type="slidenum">
              <a:rPr lang="de-DE" smtClean="0"/>
              <a:pPr/>
              <a:t>‹#›</a:t>
            </a:fld>
            <a:endParaRPr lang="de-DE" dirty="0"/>
          </a:p>
        </p:txBody>
      </p:sp>
    </p:spTree>
    <p:extLst>
      <p:ext uri="{BB962C8B-B14F-4D97-AF65-F5344CB8AC3E}">
        <p14:creationId xmlns:p14="http://schemas.microsoft.com/office/powerpoint/2010/main" val="35105237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de-DE" dirty="0"/>
          </a:p>
        </p:txBody>
      </p:sp>
      <p:sp>
        <p:nvSpPr>
          <p:cNvPr id="3" name="Datumsplatzhalter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1300"/>
            </a:lvl1pPr>
          </a:lstStyle>
          <a:p>
            <a:fld id="{83CAF5E9-C4F1-4C78-89AF-BFD85D7C0CE6}" type="datetimeFigureOut">
              <a:rPr lang="de-DE" smtClean="0"/>
              <a:pPr/>
              <a:t>20.06.2023</a:t>
            </a:fld>
            <a:endParaRPr lang="de-DE" dirty="0"/>
          </a:p>
        </p:txBody>
      </p:sp>
      <p:sp>
        <p:nvSpPr>
          <p:cNvPr id="4" name="Folienbildplatzhalt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de-DE" dirty="0"/>
          </a:p>
        </p:txBody>
      </p:sp>
      <p:sp>
        <p:nvSpPr>
          <p:cNvPr id="5" name="Notizenplatzhalter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1300"/>
            </a:lvl1pPr>
          </a:lstStyle>
          <a:p>
            <a:endParaRPr lang="de-DE" dirty="0"/>
          </a:p>
        </p:txBody>
      </p:sp>
      <p:sp>
        <p:nvSpPr>
          <p:cNvPr id="7" name="Foliennummernplatzhalter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1300"/>
            </a:lvl1pPr>
          </a:lstStyle>
          <a:p>
            <a:fld id="{3163647E-B9FB-4409-9661-F11270D950C6}" type="slidenum">
              <a:rPr lang="de-DE" smtClean="0"/>
              <a:pPr/>
              <a:t>‹#›</a:t>
            </a:fld>
            <a:endParaRPr lang="de-DE" dirty="0"/>
          </a:p>
        </p:txBody>
      </p:sp>
    </p:spTree>
    <p:extLst>
      <p:ext uri="{BB962C8B-B14F-4D97-AF65-F5344CB8AC3E}">
        <p14:creationId xmlns:p14="http://schemas.microsoft.com/office/powerpoint/2010/main" val="3302110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39A9DA6-3153-4150-A330-70B6ACB9C17C}" type="slidenum">
              <a:rPr lang="en-GB" smtClean="0"/>
              <a:t>8</a:t>
            </a:fld>
            <a:endParaRPr lang="en-GB" dirty="0"/>
          </a:p>
        </p:txBody>
      </p:sp>
    </p:spTree>
    <p:extLst>
      <p:ext uri="{BB962C8B-B14F-4D97-AF65-F5344CB8AC3E}">
        <p14:creationId xmlns:p14="http://schemas.microsoft.com/office/powerpoint/2010/main" val="40204640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39A9DA6-3153-4150-A330-70B6ACB9C17C}" type="slidenum">
              <a:rPr lang="en-GB" smtClean="0"/>
              <a:t>10</a:t>
            </a:fld>
            <a:endParaRPr lang="en-GB" dirty="0"/>
          </a:p>
        </p:txBody>
      </p:sp>
    </p:spTree>
    <p:extLst>
      <p:ext uri="{BB962C8B-B14F-4D97-AF65-F5344CB8AC3E}">
        <p14:creationId xmlns:p14="http://schemas.microsoft.com/office/powerpoint/2010/main" val="144605961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4.jpeg"/><Relationship Id="rId4" Type="http://schemas.openxmlformats.org/officeDocument/2006/relationships/image" Target="../media/image9.png"/><Relationship Id="rId9" Type="http://schemas.openxmlformats.org/officeDocument/2006/relationships/image" Target="../media/image1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Abgerundetes Rechteck 1"/>
          <p:cNvSpPr/>
          <p:nvPr/>
        </p:nvSpPr>
        <p:spPr>
          <a:xfrm rot="10800000">
            <a:off x="5246721" y="504000"/>
            <a:ext cx="3897074" cy="2293805"/>
          </a:xfrm>
          <a:custGeom>
            <a:avLst/>
            <a:gdLst>
              <a:gd name="connsiteX0" fmla="*/ 0 w 6224588"/>
              <a:gd name="connsiteY0" fmla="*/ 672088 h 4032448"/>
              <a:gd name="connsiteX1" fmla="*/ 672088 w 6224588"/>
              <a:gd name="connsiteY1" fmla="*/ 0 h 4032448"/>
              <a:gd name="connsiteX2" fmla="*/ 5552500 w 6224588"/>
              <a:gd name="connsiteY2" fmla="*/ 0 h 4032448"/>
              <a:gd name="connsiteX3" fmla="*/ 6224588 w 6224588"/>
              <a:gd name="connsiteY3" fmla="*/ 672088 h 4032448"/>
              <a:gd name="connsiteX4" fmla="*/ 6224588 w 6224588"/>
              <a:gd name="connsiteY4" fmla="*/ 3360360 h 4032448"/>
              <a:gd name="connsiteX5" fmla="*/ 5552500 w 6224588"/>
              <a:gd name="connsiteY5" fmla="*/ 4032448 h 4032448"/>
              <a:gd name="connsiteX6" fmla="*/ 672088 w 6224588"/>
              <a:gd name="connsiteY6" fmla="*/ 4032448 h 4032448"/>
              <a:gd name="connsiteX7" fmla="*/ 0 w 6224588"/>
              <a:gd name="connsiteY7" fmla="*/ 3360360 h 4032448"/>
              <a:gd name="connsiteX8" fmla="*/ 0 w 6224588"/>
              <a:gd name="connsiteY8" fmla="*/ 672088 h 4032448"/>
              <a:gd name="connsiteX0" fmla="*/ 0 w 6255181"/>
              <a:gd name="connsiteY0" fmla="*/ 672088 h 4032448"/>
              <a:gd name="connsiteX1" fmla="*/ 672088 w 6255181"/>
              <a:gd name="connsiteY1" fmla="*/ 0 h 4032448"/>
              <a:gd name="connsiteX2" fmla="*/ 5552500 w 6255181"/>
              <a:gd name="connsiteY2" fmla="*/ 0 h 4032448"/>
              <a:gd name="connsiteX3" fmla="*/ 6224588 w 6255181"/>
              <a:gd name="connsiteY3" fmla="*/ 672088 h 4032448"/>
              <a:gd name="connsiteX4" fmla="*/ 6255181 w 6255181"/>
              <a:gd name="connsiteY4" fmla="*/ 3360360 h 4032448"/>
              <a:gd name="connsiteX5" fmla="*/ 5552500 w 6255181"/>
              <a:gd name="connsiteY5" fmla="*/ 4032448 h 4032448"/>
              <a:gd name="connsiteX6" fmla="*/ 672088 w 6255181"/>
              <a:gd name="connsiteY6" fmla="*/ 4032448 h 4032448"/>
              <a:gd name="connsiteX7" fmla="*/ 0 w 6255181"/>
              <a:gd name="connsiteY7" fmla="*/ 3360360 h 4032448"/>
              <a:gd name="connsiteX8" fmla="*/ 0 w 6255181"/>
              <a:gd name="connsiteY8" fmla="*/ 672088 h 4032448"/>
              <a:gd name="connsiteX0" fmla="*/ 0 w 6255181"/>
              <a:gd name="connsiteY0" fmla="*/ 672088 h 4032448"/>
              <a:gd name="connsiteX1" fmla="*/ 672088 w 6255181"/>
              <a:gd name="connsiteY1" fmla="*/ 0 h 4032448"/>
              <a:gd name="connsiteX2" fmla="*/ 5552500 w 6255181"/>
              <a:gd name="connsiteY2" fmla="*/ 0 h 4032448"/>
              <a:gd name="connsiteX3" fmla="*/ 6224588 w 6255181"/>
              <a:gd name="connsiteY3" fmla="*/ 672088 h 4032448"/>
              <a:gd name="connsiteX4" fmla="*/ 6255181 w 6255181"/>
              <a:gd name="connsiteY4" fmla="*/ 3360360 h 4032448"/>
              <a:gd name="connsiteX5" fmla="*/ 5552500 w 6255181"/>
              <a:gd name="connsiteY5" fmla="*/ 4032448 h 4032448"/>
              <a:gd name="connsiteX6" fmla="*/ 672088 w 6255181"/>
              <a:gd name="connsiteY6" fmla="*/ 4032448 h 4032448"/>
              <a:gd name="connsiteX7" fmla="*/ 0 w 6255181"/>
              <a:gd name="connsiteY7" fmla="*/ 3360360 h 4032448"/>
              <a:gd name="connsiteX8" fmla="*/ 0 w 6255181"/>
              <a:gd name="connsiteY8" fmla="*/ 672088 h 4032448"/>
              <a:gd name="connsiteX0" fmla="*/ 0 w 6255181"/>
              <a:gd name="connsiteY0" fmla="*/ 672088 h 4032448"/>
              <a:gd name="connsiteX1" fmla="*/ 672088 w 6255181"/>
              <a:gd name="connsiteY1" fmla="*/ 0 h 4032448"/>
              <a:gd name="connsiteX2" fmla="*/ 5552500 w 6255181"/>
              <a:gd name="connsiteY2" fmla="*/ 0 h 4032448"/>
              <a:gd name="connsiteX3" fmla="*/ 6224588 w 6255181"/>
              <a:gd name="connsiteY3" fmla="*/ 672088 h 4032448"/>
              <a:gd name="connsiteX4" fmla="*/ 6255181 w 6255181"/>
              <a:gd name="connsiteY4" fmla="*/ 3360360 h 4032448"/>
              <a:gd name="connsiteX5" fmla="*/ 5552500 w 6255181"/>
              <a:gd name="connsiteY5" fmla="*/ 4032448 h 4032448"/>
              <a:gd name="connsiteX6" fmla="*/ 672088 w 6255181"/>
              <a:gd name="connsiteY6" fmla="*/ 4032448 h 4032448"/>
              <a:gd name="connsiteX7" fmla="*/ 0 w 6255181"/>
              <a:gd name="connsiteY7" fmla="*/ 3360360 h 4032448"/>
              <a:gd name="connsiteX8" fmla="*/ 0 w 6255181"/>
              <a:gd name="connsiteY8" fmla="*/ 672088 h 4032448"/>
              <a:gd name="connsiteX0" fmla="*/ 0 w 6831278"/>
              <a:gd name="connsiteY0" fmla="*/ 672088 h 4032448"/>
              <a:gd name="connsiteX1" fmla="*/ 672088 w 6831278"/>
              <a:gd name="connsiteY1" fmla="*/ 0 h 4032448"/>
              <a:gd name="connsiteX2" fmla="*/ 5552500 w 6831278"/>
              <a:gd name="connsiteY2" fmla="*/ 0 h 4032448"/>
              <a:gd name="connsiteX3" fmla="*/ 6831278 w 6831278"/>
              <a:gd name="connsiteY3" fmla="*/ 637171 h 4032448"/>
              <a:gd name="connsiteX4" fmla="*/ 6255181 w 6831278"/>
              <a:gd name="connsiteY4" fmla="*/ 3360360 h 4032448"/>
              <a:gd name="connsiteX5" fmla="*/ 5552500 w 6831278"/>
              <a:gd name="connsiteY5" fmla="*/ 4032448 h 4032448"/>
              <a:gd name="connsiteX6" fmla="*/ 672088 w 6831278"/>
              <a:gd name="connsiteY6" fmla="*/ 4032448 h 4032448"/>
              <a:gd name="connsiteX7" fmla="*/ 0 w 6831278"/>
              <a:gd name="connsiteY7" fmla="*/ 3360360 h 4032448"/>
              <a:gd name="connsiteX8" fmla="*/ 0 w 6831278"/>
              <a:gd name="connsiteY8" fmla="*/ 672088 h 4032448"/>
              <a:gd name="connsiteX0" fmla="*/ 0 w 6831278"/>
              <a:gd name="connsiteY0" fmla="*/ 672088 h 4032448"/>
              <a:gd name="connsiteX1" fmla="*/ 672088 w 6831278"/>
              <a:gd name="connsiteY1" fmla="*/ 0 h 4032448"/>
              <a:gd name="connsiteX2" fmla="*/ 5552500 w 6831278"/>
              <a:gd name="connsiteY2" fmla="*/ 0 h 4032448"/>
              <a:gd name="connsiteX3" fmla="*/ 6831278 w 6831278"/>
              <a:gd name="connsiteY3" fmla="*/ 637171 h 4032448"/>
              <a:gd name="connsiteX4" fmla="*/ 6255181 w 6831278"/>
              <a:gd name="connsiteY4" fmla="*/ 3360360 h 4032448"/>
              <a:gd name="connsiteX5" fmla="*/ 5552500 w 6831278"/>
              <a:gd name="connsiteY5" fmla="*/ 4032448 h 4032448"/>
              <a:gd name="connsiteX6" fmla="*/ 672088 w 6831278"/>
              <a:gd name="connsiteY6" fmla="*/ 4032448 h 4032448"/>
              <a:gd name="connsiteX7" fmla="*/ 0 w 6831278"/>
              <a:gd name="connsiteY7" fmla="*/ 3360360 h 4032448"/>
              <a:gd name="connsiteX8" fmla="*/ 0 w 6831278"/>
              <a:gd name="connsiteY8" fmla="*/ 672088 h 4032448"/>
              <a:gd name="connsiteX0" fmla="*/ 0 w 6860604"/>
              <a:gd name="connsiteY0" fmla="*/ 709311 h 4069671"/>
              <a:gd name="connsiteX1" fmla="*/ 672088 w 6860604"/>
              <a:gd name="connsiteY1" fmla="*/ 37223 h 4069671"/>
              <a:gd name="connsiteX2" fmla="*/ 5552500 w 6860604"/>
              <a:gd name="connsiteY2" fmla="*/ 37223 h 4069671"/>
              <a:gd name="connsiteX3" fmla="*/ 6831278 w 6860604"/>
              <a:gd name="connsiteY3" fmla="*/ 674394 h 4069671"/>
              <a:gd name="connsiteX4" fmla="*/ 6255181 w 6860604"/>
              <a:gd name="connsiteY4" fmla="*/ 3397583 h 4069671"/>
              <a:gd name="connsiteX5" fmla="*/ 5552500 w 6860604"/>
              <a:gd name="connsiteY5" fmla="*/ 4069671 h 4069671"/>
              <a:gd name="connsiteX6" fmla="*/ 672088 w 6860604"/>
              <a:gd name="connsiteY6" fmla="*/ 4069671 h 4069671"/>
              <a:gd name="connsiteX7" fmla="*/ 0 w 6860604"/>
              <a:gd name="connsiteY7" fmla="*/ 3397583 h 4069671"/>
              <a:gd name="connsiteX8" fmla="*/ 0 w 6860604"/>
              <a:gd name="connsiteY8" fmla="*/ 709311 h 4069671"/>
              <a:gd name="connsiteX0" fmla="*/ 0 w 6862665"/>
              <a:gd name="connsiteY0" fmla="*/ 680502 h 4040862"/>
              <a:gd name="connsiteX1" fmla="*/ 672088 w 6862665"/>
              <a:gd name="connsiteY1" fmla="*/ 8414 h 4040862"/>
              <a:gd name="connsiteX2" fmla="*/ 5552500 w 6862665"/>
              <a:gd name="connsiteY2" fmla="*/ 8414 h 4040862"/>
              <a:gd name="connsiteX3" fmla="*/ 6831278 w 6862665"/>
              <a:gd name="connsiteY3" fmla="*/ 645585 h 4040862"/>
              <a:gd name="connsiteX4" fmla="*/ 6255181 w 6862665"/>
              <a:gd name="connsiteY4" fmla="*/ 3368774 h 4040862"/>
              <a:gd name="connsiteX5" fmla="*/ 5552500 w 6862665"/>
              <a:gd name="connsiteY5" fmla="*/ 4040862 h 4040862"/>
              <a:gd name="connsiteX6" fmla="*/ 672088 w 6862665"/>
              <a:gd name="connsiteY6" fmla="*/ 4040862 h 4040862"/>
              <a:gd name="connsiteX7" fmla="*/ 0 w 6862665"/>
              <a:gd name="connsiteY7" fmla="*/ 3368774 h 4040862"/>
              <a:gd name="connsiteX8" fmla="*/ 0 w 6862665"/>
              <a:gd name="connsiteY8" fmla="*/ 680502 h 4040862"/>
              <a:gd name="connsiteX0" fmla="*/ 0 w 6863254"/>
              <a:gd name="connsiteY0" fmla="*/ 688713 h 4049073"/>
              <a:gd name="connsiteX1" fmla="*/ 672088 w 6863254"/>
              <a:gd name="connsiteY1" fmla="*/ 16625 h 4049073"/>
              <a:gd name="connsiteX2" fmla="*/ 5552500 w 6863254"/>
              <a:gd name="connsiteY2" fmla="*/ 16625 h 4049073"/>
              <a:gd name="connsiteX3" fmla="*/ 6831278 w 6863254"/>
              <a:gd name="connsiteY3" fmla="*/ 653796 h 4049073"/>
              <a:gd name="connsiteX4" fmla="*/ 6255181 w 6863254"/>
              <a:gd name="connsiteY4" fmla="*/ 3376985 h 4049073"/>
              <a:gd name="connsiteX5" fmla="*/ 5552500 w 6863254"/>
              <a:gd name="connsiteY5" fmla="*/ 4049073 h 4049073"/>
              <a:gd name="connsiteX6" fmla="*/ 672088 w 6863254"/>
              <a:gd name="connsiteY6" fmla="*/ 4049073 h 4049073"/>
              <a:gd name="connsiteX7" fmla="*/ 0 w 6863254"/>
              <a:gd name="connsiteY7" fmla="*/ 3376985 h 4049073"/>
              <a:gd name="connsiteX8" fmla="*/ 0 w 6863254"/>
              <a:gd name="connsiteY8" fmla="*/ 688713 h 4049073"/>
              <a:gd name="connsiteX0" fmla="*/ 0 w 6863864"/>
              <a:gd name="connsiteY0" fmla="*/ 694884 h 4055244"/>
              <a:gd name="connsiteX1" fmla="*/ 672088 w 6863864"/>
              <a:gd name="connsiteY1" fmla="*/ 22796 h 4055244"/>
              <a:gd name="connsiteX2" fmla="*/ 5552500 w 6863864"/>
              <a:gd name="connsiteY2" fmla="*/ 22796 h 4055244"/>
              <a:gd name="connsiteX3" fmla="*/ 6831278 w 6863864"/>
              <a:gd name="connsiteY3" fmla="*/ 659967 h 4055244"/>
              <a:gd name="connsiteX4" fmla="*/ 6255181 w 6863864"/>
              <a:gd name="connsiteY4" fmla="*/ 3383156 h 4055244"/>
              <a:gd name="connsiteX5" fmla="*/ 5552500 w 6863864"/>
              <a:gd name="connsiteY5" fmla="*/ 4055244 h 4055244"/>
              <a:gd name="connsiteX6" fmla="*/ 672088 w 6863864"/>
              <a:gd name="connsiteY6" fmla="*/ 4055244 h 4055244"/>
              <a:gd name="connsiteX7" fmla="*/ 0 w 6863864"/>
              <a:gd name="connsiteY7" fmla="*/ 3383156 h 4055244"/>
              <a:gd name="connsiteX8" fmla="*/ 0 w 6863864"/>
              <a:gd name="connsiteY8" fmla="*/ 694884 h 4055244"/>
              <a:gd name="connsiteX0" fmla="*/ 0 w 6831278"/>
              <a:gd name="connsiteY0" fmla="*/ 729568 h 4089928"/>
              <a:gd name="connsiteX1" fmla="*/ 672088 w 6831278"/>
              <a:gd name="connsiteY1" fmla="*/ 57480 h 4089928"/>
              <a:gd name="connsiteX2" fmla="*/ 5552500 w 6831278"/>
              <a:gd name="connsiteY2" fmla="*/ 57480 h 4089928"/>
              <a:gd name="connsiteX3" fmla="*/ 6110066 w 6831278"/>
              <a:gd name="connsiteY3" fmla="*/ 44477 h 4089928"/>
              <a:gd name="connsiteX4" fmla="*/ 6831278 w 6831278"/>
              <a:gd name="connsiteY4" fmla="*/ 694651 h 4089928"/>
              <a:gd name="connsiteX5" fmla="*/ 6255181 w 6831278"/>
              <a:gd name="connsiteY5" fmla="*/ 3417840 h 4089928"/>
              <a:gd name="connsiteX6" fmla="*/ 5552500 w 6831278"/>
              <a:gd name="connsiteY6" fmla="*/ 4089928 h 4089928"/>
              <a:gd name="connsiteX7" fmla="*/ 672088 w 6831278"/>
              <a:gd name="connsiteY7" fmla="*/ 4089928 h 4089928"/>
              <a:gd name="connsiteX8" fmla="*/ 0 w 6831278"/>
              <a:gd name="connsiteY8" fmla="*/ 3417840 h 4089928"/>
              <a:gd name="connsiteX9" fmla="*/ 0 w 6831278"/>
              <a:gd name="connsiteY9" fmla="*/ 729568 h 4089928"/>
              <a:gd name="connsiteX0" fmla="*/ 0 w 6831278"/>
              <a:gd name="connsiteY0" fmla="*/ 685091 h 4045451"/>
              <a:gd name="connsiteX1" fmla="*/ 672088 w 6831278"/>
              <a:gd name="connsiteY1" fmla="*/ 13003 h 4045451"/>
              <a:gd name="connsiteX2" fmla="*/ 5552500 w 6831278"/>
              <a:gd name="connsiteY2" fmla="*/ 13003 h 4045451"/>
              <a:gd name="connsiteX3" fmla="*/ 6110066 w 6831278"/>
              <a:gd name="connsiteY3" fmla="*/ 0 h 4045451"/>
              <a:gd name="connsiteX4" fmla="*/ 6831278 w 6831278"/>
              <a:gd name="connsiteY4" fmla="*/ 650174 h 4045451"/>
              <a:gd name="connsiteX5" fmla="*/ 6255181 w 6831278"/>
              <a:gd name="connsiteY5" fmla="*/ 3373363 h 4045451"/>
              <a:gd name="connsiteX6" fmla="*/ 5552500 w 6831278"/>
              <a:gd name="connsiteY6" fmla="*/ 4045451 h 4045451"/>
              <a:gd name="connsiteX7" fmla="*/ 672088 w 6831278"/>
              <a:gd name="connsiteY7" fmla="*/ 4045451 h 4045451"/>
              <a:gd name="connsiteX8" fmla="*/ 0 w 6831278"/>
              <a:gd name="connsiteY8" fmla="*/ 3373363 h 4045451"/>
              <a:gd name="connsiteX9" fmla="*/ 0 w 6831278"/>
              <a:gd name="connsiteY9" fmla="*/ 685091 h 4045451"/>
              <a:gd name="connsiteX0" fmla="*/ 0 w 6831278"/>
              <a:gd name="connsiteY0" fmla="*/ 687376 h 4047736"/>
              <a:gd name="connsiteX1" fmla="*/ 672088 w 6831278"/>
              <a:gd name="connsiteY1" fmla="*/ 15288 h 4047736"/>
              <a:gd name="connsiteX2" fmla="*/ 5552500 w 6831278"/>
              <a:gd name="connsiteY2" fmla="*/ 15288 h 4047736"/>
              <a:gd name="connsiteX3" fmla="*/ 6110066 w 6831278"/>
              <a:gd name="connsiteY3" fmla="*/ 2285 h 4047736"/>
              <a:gd name="connsiteX4" fmla="*/ 6831278 w 6831278"/>
              <a:gd name="connsiteY4" fmla="*/ 652459 h 4047736"/>
              <a:gd name="connsiteX5" fmla="*/ 6255181 w 6831278"/>
              <a:gd name="connsiteY5" fmla="*/ 3375648 h 4047736"/>
              <a:gd name="connsiteX6" fmla="*/ 5552500 w 6831278"/>
              <a:gd name="connsiteY6" fmla="*/ 4047736 h 4047736"/>
              <a:gd name="connsiteX7" fmla="*/ 672088 w 6831278"/>
              <a:gd name="connsiteY7" fmla="*/ 4047736 h 4047736"/>
              <a:gd name="connsiteX8" fmla="*/ 0 w 6831278"/>
              <a:gd name="connsiteY8" fmla="*/ 3375648 h 4047736"/>
              <a:gd name="connsiteX9" fmla="*/ 0 w 6831278"/>
              <a:gd name="connsiteY9" fmla="*/ 687376 h 4047736"/>
              <a:gd name="connsiteX0" fmla="*/ 0 w 6856408"/>
              <a:gd name="connsiteY0" fmla="*/ 686464 h 4046824"/>
              <a:gd name="connsiteX1" fmla="*/ 672088 w 6856408"/>
              <a:gd name="connsiteY1" fmla="*/ 14376 h 4046824"/>
              <a:gd name="connsiteX2" fmla="*/ 5552500 w 6856408"/>
              <a:gd name="connsiteY2" fmla="*/ 14376 h 4046824"/>
              <a:gd name="connsiteX3" fmla="*/ 6110066 w 6856408"/>
              <a:gd name="connsiteY3" fmla="*/ 1373 h 4046824"/>
              <a:gd name="connsiteX4" fmla="*/ 6831278 w 6856408"/>
              <a:gd name="connsiteY4" fmla="*/ 651547 h 4046824"/>
              <a:gd name="connsiteX5" fmla="*/ 6255181 w 6856408"/>
              <a:gd name="connsiteY5" fmla="*/ 3374736 h 4046824"/>
              <a:gd name="connsiteX6" fmla="*/ 5552500 w 6856408"/>
              <a:gd name="connsiteY6" fmla="*/ 4046824 h 4046824"/>
              <a:gd name="connsiteX7" fmla="*/ 672088 w 6856408"/>
              <a:gd name="connsiteY7" fmla="*/ 4046824 h 4046824"/>
              <a:gd name="connsiteX8" fmla="*/ 0 w 6856408"/>
              <a:gd name="connsiteY8" fmla="*/ 3374736 h 4046824"/>
              <a:gd name="connsiteX9" fmla="*/ 0 w 6856408"/>
              <a:gd name="connsiteY9" fmla="*/ 686464 h 4046824"/>
              <a:gd name="connsiteX0" fmla="*/ 0 w 6856792"/>
              <a:gd name="connsiteY0" fmla="*/ 690375 h 4050735"/>
              <a:gd name="connsiteX1" fmla="*/ 672088 w 6856792"/>
              <a:gd name="connsiteY1" fmla="*/ 18287 h 4050735"/>
              <a:gd name="connsiteX2" fmla="*/ 5552500 w 6856792"/>
              <a:gd name="connsiteY2" fmla="*/ 18287 h 4050735"/>
              <a:gd name="connsiteX3" fmla="*/ 6110066 w 6856792"/>
              <a:gd name="connsiteY3" fmla="*/ 5284 h 4050735"/>
              <a:gd name="connsiteX4" fmla="*/ 6831278 w 6856792"/>
              <a:gd name="connsiteY4" fmla="*/ 655458 h 4050735"/>
              <a:gd name="connsiteX5" fmla="*/ 6255181 w 6856792"/>
              <a:gd name="connsiteY5" fmla="*/ 3378647 h 4050735"/>
              <a:gd name="connsiteX6" fmla="*/ 5552500 w 6856792"/>
              <a:gd name="connsiteY6" fmla="*/ 4050735 h 4050735"/>
              <a:gd name="connsiteX7" fmla="*/ 672088 w 6856792"/>
              <a:gd name="connsiteY7" fmla="*/ 4050735 h 4050735"/>
              <a:gd name="connsiteX8" fmla="*/ 0 w 6856792"/>
              <a:gd name="connsiteY8" fmla="*/ 3378647 h 4050735"/>
              <a:gd name="connsiteX9" fmla="*/ 0 w 6856792"/>
              <a:gd name="connsiteY9" fmla="*/ 690375 h 4050735"/>
              <a:gd name="connsiteX0" fmla="*/ 0 w 6856380"/>
              <a:gd name="connsiteY0" fmla="*/ 690375 h 4050735"/>
              <a:gd name="connsiteX1" fmla="*/ 672088 w 6856380"/>
              <a:gd name="connsiteY1" fmla="*/ 18287 h 4050735"/>
              <a:gd name="connsiteX2" fmla="*/ 5552500 w 6856380"/>
              <a:gd name="connsiteY2" fmla="*/ 18287 h 4050735"/>
              <a:gd name="connsiteX3" fmla="*/ 6105377 w 6856380"/>
              <a:gd name="connsiteY3" fmla="*/ 5284 h 4050735"/>
              <a:gd name="connsiteX4" fmla="*/ 6831278 w 6856380"/>
              <a:gd name="connsiteY4" fmla="*/ 655458 h 4050735"/>
              <a:gd name="connsiteX5" fmla="*/ 6255181 w 6856380"/>
              <a:gd name="connsiteY5" fmla="*/ 3378647 h 4050735"/>
              <a:gd name="connsiteX6" fmla="*/ 5552500 w 6856380"/>
              <a:gd name="connsiteY6" fmla="*/ 4050735 h 4050735"/>
              <a:gd name="connsiteX7" fmla="*/ 672088 w 6856380"/>
              <a:gd name="connsiteY7" fmla="*/ 4050735 h 4050735"/>
              <a:gd name="connsiteX8" fmla="*/ 0 w 6856380"/>
              <a:gd name="connsiteY8" fmla="*/ 3378647 h 4050735"/>
              <a:gd name="connsiteX9" fmla="*/ 0 w 6856380"/>
              <a:gd name="connsiteY9"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901663 w 6856380"/>
              <a:gd name="connsiteY8" fmla="*/ 4050735 h 4050735"/>
              <a:gd name="connsiteX9" fmla="*/ 0 w 6856380"/>
              <a:gd name="connsiteY9" fmla="*/ 3378647 h 4050735"/>
              <a:gd name="connsiteX10" fmla="*/ 0 w 6856380"/>
              <a:gd name="connsiteY10" fmla="*/ 690375 h 4050735"/>
              <a:gd name="connsiteX0" fmla="*/ 0 w 6856380"/>
              <a:gd name="connsiteY0" fmla="*/ 3378647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901663 w 6856380"/>
              <a:gd name="connsiteY8" fmla="*/ 4050735 h 4050735"/>
              <a:gd name="connsiteX9" fmla="*/ 0 w 6856380"/>
              <a:gd name="connsiteY9" fmla="*/ 3378647 h 4050735"/>
              <a:gd name="connsiteX0" fmla="*/ 664711 w 6619428"/>
              <a:gd name="connsiteY0" fmla="*/ 4050735 h 4050735"/>
              <a:gd name="connsiteX1" fmla="*/ 435136 w 6619428"/>
              <a:gd name="connsiteY1" fmla="*/ 18287 h 4050735"/>
              <a:gd name="connsiteX2" fmla="*/ 4499169 w 6619428"/>
              <a:gd name="connsiteY2" fmla="*/ 14663 h 4050735"/>
              <a:gd name="connsiteX3" fmla="*/ 5315548 w 6619428"/>
              <a:gd name="connsiteY3" fmla="*/ 8908 h 4050735"/>
              <a:gd name="connsiteX4" fmla="*/ 5868425 w 6619428"/>
              <a:gd name="connsiteY4" fmla="*/ 5284 h 4050735"/>
              <a:gd name="connsiteX5" fmla="*/ 6594326 w 6619428"/>
              <a:gd name="connsiteY5" fmla="*/ 655458 h 4050735"/>
              <a:gd name="connsiteX6" fmla="*/ 6018229 w 6619428"/>
              <a:gd name="connsiteY6" fmla="*/ 3378647 h 4050735"/>
              <a:gd name="connsiteX7" fmla="*/ 5315548 w 6619428"/>
              <a:gd name="connsiteY7" fmla="*/ 4050735 h 4050735"/>
              <a:gd name="connsiteX8" fmla="*/ 664711 w 6619428"/>
              <a:gd name="connsiteY8" fmla="*/ 4050735 h 4050735"/>
              <a:gd name="connsiteX0" fmla="*/ 555434 w 6510151"/>
              <a:gd name="connsiteY0" fmla="*/ 4050735 h 4050735"/>
              <a:gd name="connsiteX1" fmla="*/ 536303 w 6510151"/>
              <a:gd name="connsiteY1" fmla="*/ 18287 h 4050735"/>
              <a:gd name="connsiteX2" fmla="*/ 4389892 w 6510151"/>
              <a:gd name="connsiteY2" fmla="*/ 14663 h 4050735"/>
              <a:gd name="connsiteX3" fmla="*/ 5206271 w 6510151"/>
              <a:gd name="connsiteY3" fmla="*/ 8908 h 4050735"/>
              <a:gd name="connsiteX4" fmla="*/ 5759148 w 6510151"/>
              <a:gd name="connsiteY4" fmla="*/ 5284 h 4050735"/>
              <a:gd name="connsiteX5" fmla="*/ 6485049 w 6510151"/>
              <a:gd name="connsiteY5" fmla="*/ 655458 h 4050735"/>
              <a:gd name="connsiteX6" fmla="*/ 5908952 w 6510151"/>
              <a:gd name="connsiteY6" fmla="*/ 3378647 h 4050735"/>
              <a:gd name="connsiteX7" fmla="*/ 5206271 w 6510151"/>
              <a:gd name="connsiteY7" fmla="*/ 4050735 h 4050735"/>
              <a:gd name="connsiteX8" fmla="*/ 555434 w 6510151"/>
              <a:gd name="connsiteY8" fmla="*/ 4050735 h 4050735"/>
              <a:gd name="connsiteX0" fmla="*/ 19131 w 5973848"/>
              <a:gd name="connsiteY0" fmla="*/ 4050735 h 4050735"/>
              <a:gd name="connsiteX1" fmla="*/ 0 w 5973848"/>
              <a:gd name="connsiteY1" fmla="*/ 18287 h 4050735"/>
              <a:gd name="connsiteX2" fmla="*/ 3853589 w 5973848"/>
              <a:gd name="connsiteY2" fmla="*/ 14663 h 4050735"/>
              <a:gd name="connsiteX3" fmla="*/ 4669968 w 5973848"/>
              <a:gd name="connsiteY3" fmla="*/ 8908 h 4050735"/>
              <a:gd name="connsiteX4" fmla="*/ 5222845 w 5973848"/>
              <a:gd name="connsiteY4" fmla="*/ 5284 h 4050735"/>
              <a:gd name="connsiteX5" fmla="*/ 5948746 w 5973848"/>
              <a:gd name="connsiteY5" fmla="*/ 655458 h 4050735"/>
              <a:gd name="connsiteX6" fmla="*/ 5372649 w 5973848"/>
              <a:gd name="connsiteY6" fmla="*/ 3378647 h 4050735"/>
              <a:gd name="connsiteX7" fmla="*/ 4669968 w 5973848"/>
              <a:gd name="connsiteY7" fmla="*/ 4050735 h 4050735"/>
              <a:gd name="connsiteX8" fmla="*/ 19131 w 5973848"/>
              <a:gd name="connsiteY8" fmla="*/ 4050735 h 4050735"/>
              <a:gd name="connsiteX0" fmla="*/ 5910 w 5973848"/>
              <a:gd name="connsiteY0" fmla="*/ 4050735 h 4050735"/>
              <a:gd name="connsiteX1" fmla="*/ 0 w 5973848"/>
              <a:gd name="connsiteY1" fmla="*/ 18287 h 4050735"/>
              <a:gd name="connsiteX2" fmla="*/ 3853589 w 5973848"/>
              <a:gd name="connsiteY2" fmla="*/ 14663 h 4050735"/>
              <a:gd name="connsiteX3" fmla="*/ 4669968 w 5973848"/>
              <a:gd name="connsiteY3" fmla="*/ 8908 h 4050735"/>
              <a:gd name="connsiteX4" fmla="*/ 5222845 w 5973848"/>
              <a:gd name="connsiteY4" fmla="*/ 5284 h 4050735"/>
              <a:gd name="connsiteX5" fmla="*/ 5948746 w 5973848"/>
              <a:gd name="connsiteY5" fmla="*/ 655458 h 4050735"/>
              <a:gd name="connsiteX6" fmla="*/ 5372649 w 5973848"/>
              <a:gd name="connsiteY6" fmla="*/ 3378647 h 4050735"/>
              <a:gd name="connsiteX7" fmla="*/ 4669968 w 5973848"/>
              <a:gd name="connsiteY7" fmla="*/ 4050735 h 4050735"/>
              <a:gd name="connsiteX8" fmla="*/ 5910 w 5973848"/>
              <a:gd name="connsiteY8" fmla="*/ 4050735 h 4050735"/>
              <a:gd name="connsiteX0" fmla="*/ 5910 w 5973848"/>
              <a:gd name="connsiteY0" fmla="*/ 4050735 h 4050735"/>
              <a:gd name="connsiteX1" fmla="*/ 0 w 5973848"/>
              <a:gd name="connsiteY1" fmla="*/ 18287 h 4050735"/>
              <a:gd name="connsiteX2" fmla="*/ 3853589 w 5973848"/>
              <a:gd name="connsiteY2" fmla="*/ 14663 h 4050735"/>
              <a:gd name="connsiteX3" fmla="*/ 4669968 w 5973848"/>
              <a:gd name="connsiteY3" fmla="*/ 8908 h 4050735"/>
              <a:gd name="connsiteX4" fmla="*/ 5222845 w 5973848"/>
              <a:gd name="connsiteY4" fmla="*/ 5284 h 4050735"/>
              <a:gd name="connsiteX5" fmla="*/ 5948746 w 5973848"/>
              <a:gd name="connsiteY5" fmla="*/ 655458 h 4050735"/>
              <a:gd name="connsiteX6" fmla="*/ 5372649 w 5973848"/>
              <a:gd name="connsiteY6" fmla="*/ 3378647 h 4050735"/>
              <a:gd name="connsiteX7" fmla="*/ 4669968 w 5973848"/>
              <a:gd name="connsiteY7" fmla="*/ 4050735 h 4050735"/>
              <a:gd name="connsiteX8" fmla="*/ 5910 w 5973848"/>
              <a:gd name="connsiteY8" fmla="*/ 4050735 h 4050735"/>
              <a:gd name="connsiteX0" fmla="*/ 5910 w 5973848"/>
              <a:gd name="connsiteY0" fmla="*/ 4050735 h 4050735"/>
              <a:gd name="connsiteX1" fmla="*/ 0 w 5973848"/>
              <a:gd name="connsiteY1" fmla="*/ 18287 h 4050735"/>
              <a:gd name="connsiteX2" fmla="*/ 3853589 w 5973848"/>
              <a:gd name="connsiteY2" fmla="*/ 14663 h 4050735"/>
              <a:gd name="connsiteX3" fmla="*/ 4669968 w 5973848"/>
              <a:gd name="connsiteY3" fmla="*/ 8908 h 4050735"/>
              <a:gd name="connsiteX4" fmla="*/ 5222845 w 5973848"/>
              <a:gd name="connsiteY4" fmla="*/ 5284 h 4050735"/>
              <a:gd name="connsiteX5" fmla="*/ 5948746 w 5973848"/>
              <a:gd name="connsiteY5" fmla="*/ 655458 h 4050735"/>
              <a:gd name="connsiteX6" fmla="*/ 5372649 w 5973848"/>
              <a:gd name="connsiteY6" fmla="*/ 3378647 h 4050735"/>
              <a:gd name="connsiteX7" fmla="*/ 4669968 w 5973848"/>
              <a:gd name="connsiteY7" fmla="*/ 4050735 h 4050735"/>
              <a:gd name="connsiteX8" fmla="*/ 5910 w 5973848"/>
              <a:gd name="connsiteY8" fmla="*/ 4050735 h 4050735"/>
              <a:gd name="connsiteX0" fmla="*/ 0 w 6840531"/>
              <a:gd name="connsiteY0" fmla="*/ 4050735 h 4050735"/>
              <a:gd name="connsiteX1" fmla="*/ 866683 w 6840531"/>
              <a:gd name="connsiteY1" fmla="*/ 18287 h 4050735"/>
              <a:gd name="connsiteX2" fmla="*/ 4720272 w 6840531"/>
              <a:gd name="connsiteY2" fmla="*/ 14663 h 4050735"/>
              <a:gd name="connsiteX3" fmla="*/ 5536651 w 6840531"/>
              <a:gd name="connsiteY3" fmla="*/ 8908 h 4050735"/>
              <a:gd name="connsiteX4" fmla="*/ 6089528 w 6840531"/>
              <a:gd name="connsiteY4" fmla="*/ 5284 h 4050735"/>
              <a:gd name="connsiteX5" fmla="*/ 6815429 w 6840531"/>
              <a:gd name="connsiteY5" fmla="*/ 655458 h 4050735"/>
              <a:gd name="connsiteX6" fmla="*/ 6239332 w 6840531"/>
              <a:gd name="connsiteY6" fmla="*/ 3378647 h 4050735"/>
              <a:gd name="connsiteX7" fmla="*/ 5536651 w 6840531"/>
              <a:gd name="connsiteY7" fmla="*/ 4050735 h 4050735"/>
              <a:gd name="connsiteX8" fmla="*/ 0 w 6840531"/>
              <a:gd name="connsiteY8" fmla="*/ 4050735 h 4050735"/>
              <a:gd name="connsiteX0" fmla="*/ 0 w 6840531"/>
              <a:gd name="connsiteY0" fmla="*/ 4050735 h 4050735"/>
              <a:gd name="connsiteX1" fmla="*/ 7310 w 6840531"/>
              <a:gd name="connsiteY1" fmla="*/ 10562 h 4050735"/>
              <a:gd name="connsiteX2" fmla="*/ 4720272 w 6840531"/>
              <a:gd name="connsiteY2" fmla="*/ 14663 h 4050735"/>
              <a:gd name="connsiteX3" fmla="*/ 5536651 w 6840531"/>
              <a:gd name="connsiteY3" fmla="*/ 8908 h 4050735"/>
              <a:gd name="connsiteX4" fmla="*/ 6089528 w 6840531"/>
              <a:gd name="connsiteY4" fmla="*/ 5284 h 4050735"/>
              <a:gd name="connsiteX5" fmla="*/ 6815429 w 6840531"/>
              <a:gd name="connsiteY5" fmla="*/ 655458 h 4050735"/>
              <a:gd name="connsiteX6" fmla="*/ 6239332 w 6840531"/>
              <a:gd name="connsiteY6" fmla="*/ 3378647 h 4050735"/>
              <a:gd name="connsiteX7" fmla="*/ 5536651 w 6840531"/>
              <a:gd name="connsiteY7" fmla="*/ 4050735 h 4050735"/>
              <a:gd name="connsiteX8" fmla="*/ 0 w 6840531"/>
              <a:gd name="connsiteY8" fmla="*/ 4050735 h 4050735"/>
              <a:gd name="connsiteX0" fmla="*/ 0 w 6840531"/>
              <a:gd name="connsiteY0" fmla="*/ 4050735 h 4050735"/>
              <a:gd name="connsiteX1" fmla="*/ 7310 w 6840531"/>
              <a:gd name="connsiteY1" fmla="*/ 10562 h 4050735"/>
              <a:gd name="connsiteX2" fmla="*/ 4720272 w 6840531"/>
              <a:gd name="connsiteY2" fmla="*/ 14663 h 4050735"/>
              <a:gd name="connsiteX3" fmla="*/ 5536651 w 6840531"/>
              <a:gd name="connsiteY3" fmla="*/ 8908 h 4050735"/>
              <a:gd name="connsiteX4" fmla="*/ 6089528 w 6840531"/>
              <a:gd name="connsiteY4" fmla="*/ 5284 h 4050735"/>
              <a:gd name="connsiteX5" fmla="*/ 6815429 w 6840531"/>
              <a:gd name="connsiteY5" fmla="*/ 655458 h 4050735"/>
              <a:gd name="connsiteX6" fmla="*/ 6239332 w 6840531"/>
              <a:gd name="connsiteY6" fmla="*/ 3378647 h 4050735"/>
              <a:gd name="connsiteX7" fmla="*/ 5536651 w 6840531"/>
              <a:gd name="connsiteY7" fmla="*/ 4050735 h 4050735"/>
              <a:gd name="connsiteX8" fmla="*/ 0 w 6840531"/>
              <a:gd name="connsiteY8" fmla="*/ 4050735 h 4050735"/>
              <a:gd name="connsiteX0" fmla="*/ 0 w 8127623"/>
              <a:gd name="connsiteY0" fmla="*/ 4041057 h 4050735"/>
              <a:gd name="connsiteX1" fmla="*/ 1294402 w 8127623"/>
              <a:gd name="connsiteY1" fmla="*/ 10562 h 4050735"/>
              <a:gd name="connsiteX2" fmla="*/ 6007364 w 8127623"/>
              <a:gd name="connsiteY2" fmla="*/ 14663 h 4050735"/>
              <a:gd name="connsiteX3" fmla="*/ 6823743 w 8127623"/>
              <a:gd name="connsiteY3" fmla="*/ 8908 h 4050735"/>
              <a:gd name="connsiteX4" fmla="*/ 7376620 w 8127623"/>
              <a:gd name="connsiteY4" fmla="*/ 5284 h 4050735"/>
              <a:gd name="connsiteX5" fmla="*/ 8102521 w 8127623"/>
              <a:gd name="connsiteY5" fmla="*/ 655458 h 4050735"/>
              <a:gd name="connsiteX6" fmla="*/ 7526424 w 8127623"/>
              <a:gd name="connsiteY6" fmla="*/ 3378647 h 4050735"/>
              <a:gd name="connsiteX7" fmla="*/ 6823743 w 8127623"/>
              <a:gd name="connsiteY7" fmla="*/ 4050735 h 4050735"/>
              <a:gd name="connsiteX8" fmla="*/ 0 w 8127623"/>
              <a:gd name="connsiteY8" fmla="*/ 4041057 h 4050735"/>
              <a:gd name="connsiteX0" fmla="*/ 0 w 8055674"/>
              <a:gd name="connsiteY0" fmla="*/ 4041057 h 4050735"/>
              <a:gd name="connsiteX1" fmla="*/ 1222453 w 8055674"/>
              <a:gd name="connsiteY1" fmla="*/ 10562 h 4050735"/>
              <a:gd name="connsiteX2" fmla="*/ 5935415 w 8055674"/>
              <a:gd name="connsiteY2" fmla="*/ 14663 h 4050735"/>
              <a:gd name="connsiteX3" fmla="*/ 6751794 w 8055674"/>
              <a:gd name="connsiteY3" fmla="*/ 8908 h 4050735"/>
              <a:gd name="connsiteX4" fmla="*/ 7304671 w 8055674"/>
              <a:gd name="connsiteY4" fmla="*/ 5284 h 4050735"/>
              <a:gd name="connsiteX5" fmla="*/ 8030572 w 8055674"/>
              <a:gd name="connsiteY5" fmla="*/ 655458 h 4050735"/>
              <a:gd name="connsiteX6" fmla="*/ 7454475 w 8055674"/>
              <a:gd name="connsiteY6" fmla="*/ 3378647 h 4050735"/>
              <a:gd name="connsiteX7" fmla="*/ 6751794 w 8055674"/>
              <a:gd name="connsiteY7" fmla="*/ 4050735 h 4050735"/>
              <a:gd name="connsiteX8" fmla="*/ 0 w 8055674"/>
              <a:gd name="connsiteY8" fmla="*/ 4041057 h 4050735"/>
              <a:gd name="connsiteX0" fmla="*/ 8973 w 8064647"/>
              <a:gd name="connsiteY0" fmla="*/ 4049851 h 4059529"/>
              <a:gd name="connsiteX1" fmla="*/ 294 w 8064647"/>
              <a:gd name="connsiteY1" fmla="*/ 0 h 4059529"/>
              <a:gd name="connsiteX2" fmla="*/ 5944388 w 8064647"/>
              <a:gd name="connsiteY2" fmla="*/ 23457 h 4059529"/>
              <a:gd name="connsiteX3" fmla="*/ 6760767 w 8064647"/>
              <a:gd name="connsiteY3" fmla="*/ 17702 h 4059529"/>
              <a:gd name="connsiteX4" fmla="*/ 7313644 w 8064647"/>
              <a:gd name="connsiteY4" fmla="*/ 14078 h 4059529"/>
              <a:gd name="connsiteX5" fmla="*/ 8039545 w 8064647"/>
              <a:gd name="connsiteY5" fmla="*/ 664252 h 4059529"/>
              <a:gd name="connsiteX6" fmla="*/ 7463448 w 8064647"/>
              <a:gd name="connsiteY6" fmla="*/ 3387441 h 4059529"/>
              <a:gd name="connsiteX7" fmla="*/ 6760767 w 8064647"/>
              <a:gd name="connsiteY7" fmla="*/ 4059529 h 4059529"/>
              <a:gd name="connsiteX8" fmla="*/ 8973 w 8064647"/>
              <a:gd name="connsiteY8" fmla="*/ 4049851 h 4059529"/>
              <a:gd name="connsiteX0" fmla="*/ 8679 w 8064353"/>
              <a:gd name="connsiteY0" fmla="*/ 4049851 h 4059529"/>
              <a:gd name="connsiteX1" fmla="*/ 0 w 8064353"/>
              <a:gd name="connsiteY1" fmla="*/ 0 h 4059529"/>
              <a:gd name="connsiteX2" fmla="*/ 5944094 w 8064353"/>
              <a:gd name="connsiteY2" fmla="*/ 23457 h 4059529"/>
              <a:gd name="connsiteX3" fmla="*/ 6760473 w 8064353"/>
              <a:gd name="connsiteY3" fmla="*/ 17702 h 4059529"/>
              <a:gd name="connsiteX4" fmla="*/ 7313350 w 8064353"/>
              <a:gd name="connsiteY4" fmla="*/ 14078 h 4059529"/>
              <a:gd name="connsiteX5" fmla="*/ 8039251 w 8064353"/>
              <a:gd name="connsiteY5" fmla="*/ 664252 h 4059529"/>
              <a:gd name="connsiteX6" fmla="*/ 7463154 w 8064353"/>
              <a:gd name="connsiteY6" fmla="*/ 3387441 h 4059529"/>
              <a:gd name="connsiteX7" fmla="*/ 6760473 w 8064353"/>
              <a:gd name="connsiteY7" fmla="*/ 4059529 h 4059529"/>
              <a:gd name="connsiteX8" fmla="*/ 8679 w 8064353"/>
              <a:gd name="connsiteY8" fmla="*/ 4049851 h 4059529"/>
              <a:gd name="connsiteX0" fmla="*/ 2104064 w 8064353"/>
              <a:gd name="connsiteY0" fmla="*/ 4062443 h 4062443"/>
              <a:gd name="connsiteX1" fmla="*/ 0 w 8064353"/>
              <a:gd name="connsiteY1" fmla="*/ 0 h 4062443"/>
              <a:gd name="connsiteX2" fmla="*/ 5944094 w 8064353"/>
              <a:gd name="connsiteY2" fmla="*/ 23457 h 4062443"/>
              <a:gd name="connsiteX3" fmla="*/ 6760473 w 8064353"/>
              <a:gd name="connsiteY3" fmla="*/ 17702 h 4062443"/>
              <a:gd name="connsiteX4" fmla="*/ 7313350 w 8064353"/>
              <a:gd name="connsiteY4" fmla="*/ 14078 h 4062443"/>
              <a:gd name="connsiteX5" fmla="*/ 8039251 w 8064353"/>
              <a:gd name="connsiteY5" fmla="*/ 664252 h 4062443"/>
              <a:gd name="connsiteX6" fmla="*/ 7463154 w 8064353"/>
              <a:gd name="connsiteY6" fmla="*/ 3387441 h 4062443"/>
              <a:gd name="connsiteX7" fmla="*/ 6760473 w 8064353"/>
              <a:gd name="connsiteY7" fmla="*/ 4059529 h 4062443"/>
              <a:gd name="connsiteX8" fmla="*/ 2104064 w 8064353"/>
              <a:gd name="connsiteY8" fmla="*/ 4062443 h 4062443"/>
              <a:gd name="connsiteX0" fmla="*/ 41247 w 6001536"/>
              <a:gd name="connsiteY0" fmla="*/ 4075035 h 4075035"/>
              <a:gd name="connsiteX1" fmla="*/ 0 w 6001536"/>
              <a:gd name="connsiteY1" fmla="*/ 0 h 4075035"/>
              <a:gd name="connsiteX2" fmla="*/ 3881277 w 6001536"/>
              <a:gd name="connsiteY2" fmla="*/ 36049 h 4075035"/>
              <a:gd name="connsiteX3" fmla="*/ 4697656 w 6001536"/>
              <a:gd name="connsiteY3" fmla="*/ 30294 h 4075035"/>
              <a:gd name="connsiteX4" fmla="*/ 5250533 w 6001536"/>
              <a:gd name="connsiteY4" fmla="*/ 26670 h 4075035"/>
              <a:gd name="connsiteX5" fmla="*/ 5976434 w 6001536"/>
              <a:gd name="connsiteY5" fmla="*/ 676844 h 4075035"/>
              <a:gd name="connsiteX6" fmla="*/ 5400337 w 6001536"/>
              <a:gd name="connsiteY6" fmla="*/ 3400033 h 4075035"/>
              <a:gd name="connsiteX7" fmla="*/ 4697656 w 6001536"/>
              <a:gd name="connsiteY7" fmla="*/ 4072121 h 4075035"/>
              <a:gd name="connsiteX8" fmla="*/ 41247 w 6001536"/>
              <a:gd name="connsiteY8" fmla="*/ 4075035 h 4075035"/>
              <a:gd name="connsiteX0" fmla="*/ 8676 w 5968965"/>
              <a:gd name="connsiteY0" fmla="*/ 4075035 h 4075035"/>
              <a:gd name="connsiteX1" fmla="*/ 0 w 5968965"/>
              <a:gd name="connsiteY1" fmla="*/ 0 h 4075035"/>
              <a:gd name="connsiteX2" fmla="*/ 3848706 w 5968965"/>
              <a:gd name="connsiteY2" fmla="*/ 36049 h 4075035"/>
              <a:gd name="connsiteX3" fmla="*/ 4665085 w 5968965"/>
              <a:gd name="connsiteY3" fmla="*/ 30294 h 4075035"/>
              <a:gd name="connsiteX4" fmla="*/ 5217962 w 5968965"/>
              <a:gd name="connsiteY4" fmla="*/ 26670 h 4075035"/>
              <a:gd name="connsiteX5" fmla="*/ 5943863 w 5968965"/>
              <a:gd name="connsiteY5" fmla="*/ 676844 h 4075035"/>
              <a:gd name="connsiteX6" fmla="*/ 5367766 w 5968965"/>
              <a:gd name="connsiteY6" fmla="*/ 3400033 h 4075035"/>
              <a:gd name="connsiteX7" fmla="*/ 4665085 w 5968965"/>
              <a:gd name="connsiteY7" fmla="*/ 4072121 h 4075035"/>
              <a:gd name="connsiteX8" fmla="*/ 8676 w 5968965"/>
              <a:gd name="connsiteY8" fmla="*/ 4075035 h 4075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68965" h="4075035">
                <a:moveTo>
                  <a:pt x="8676" y="4075035"/>
                </a:moveTo>
                <a:lnTo>
                  <a:pt x="0" y="0"/>
                </a:lnTo>
                <a:lnTo>
                  <a:pt x="3848706" y="36049"/>
                </a:lnTo>
                <a:lnTo>
                  <a:pt x="4665085" y="30294"/>
                </a:lnTo>
                <a:cubicBezTo>
                  <a:pt x="5201069" y="19707"/>
                  <a:pt x="4649153" y="27878"/>
                  <a:pt x="5217962" y="26670"/>
                </a:cubicBezTo>
                <a:cubicBezTo>
                  <a:pt x="5909393" y="-17191"/>
                  <a:pt x="6032218" y="213090"/>
                  <a:pt x="5943863" y="676844"/>
                </a:cubicBezTo>
                <a:lnTo>
                  <a:pt x="5367766" y="3400033"/>
                </a:lnTo>
                <a:cubicBezTo>
                  <a:pt x="5316777" y="3795011"/>
                  <a:pt x="5036269" y="4072121"/>
                  <a:pt x="4665085" y="4072121"/>
                </a:cubicBezTo>
                <a:lnTo>
                  <a:pt x="8676" y="4075035"/>
                </a:lnTo>
                <a:close/>
              </a:path>
            </a:pathLst>
          </a:custGeom>
          <a:solidFill>
            <a:srgbClr val="2CA67B"/>
          </a:solidFill>
          <a:ln>
            <a:solidFill>
              <a:srgbClr val="2CA6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8" name="Abgerundetes Rechteck 1"/>
          <p:cNvSpPr/>
          <p:nvPr/>
        </p:nvSpPr>
        <p:spPr>
          <a:xfrm>
            <a:off x="206" y="1062000"/>
            <a:ext cx="7921783" cy="2243718"/>
          </a:xfrm>
          <a:custGeom>
            <a:avLst/>
            <a:gdLst>
              <a:gd name="connsiteX0" fmla="*/ 0 w 6224588"/>
              <a:gd name="connsiteY0" fmla="*/ 672088 h 4032448"/>
              <a:gd name="connsiteX1" fmla="*/ 672088 w 6224588"/>
              <a:gd name="connsiteY1" fmla="*/ 0 h 4032448"/>
              <a:gd name="connsiteX2" fmla="*/ 5552500 w 6224588"/>
              <a:gd name="connsiteY2" fmla="*/ 0 h 4032448"/>
              <a:gd name="connsiteX3" fmla="*/ 6224588 w 6224588"/>
              <a:gd name="connsiteY3" fmla="*/ 672088 h 4032448"/>
              <a:gd name="connsiteX4" fmla="*/ 6224588 w 6224588"/>
              <a:gd name="connsiteY4" fmla="*/ 3360360 h 4032448"/>
              <a:gd name="connsiteX5" fmla="*/ 5552500 w 6224588"/>
              <a:gd name="connsiteY5" fmla="*/ 4032448 h 4032448"/>
              <a:gd name="connsiteX6" fmla="*/ 672088 w 6224588"/>
              <a:gd name="connsiteY6" fmla="*/ 4032448 h 4032448"/>
              <a:gd name="connsiteX7" fmla="*/ 0 w 6224588"/>
              <a:gd name="connsiteY7" fmla="*/ 3360360 h 4032448"/>
              <a:gd name="connsiteX8" fmla="*/ 0 w 6224588"/>
              <a:gd name="connsiteY8" fmla="*/ 672088 h 4032448"/>
              <a:gd name="connsiteX0" fmla="*/ 0 w 6255181"/>
              <a:gd name="connsiteY0" fmla="*/ 672088 h 4032448"/>
              <a:gd name="connsiteX1" fmla="*/ 672088 w 6255181"/>
              <a:gd name="connsiteY1" fmla="*/ 0 h 4032448"/>
              <a:gd name="connsiteX2" fmla="*/ 5552500 w 6255181"/>
              <a:gd name="connsiteY2" fmla="*/ 0 h 4032448"/>
              <a:gd name="connsiteX3" fmla="*/ 6224588 w 6255181"/>
              <a:gd name="connsiteY3" fmla="*/ 672088 h 4032448"/>
              <a:gd name="connsiteX4" fmla="*/ 6255181 w 6255181"/>
              <a:gd name="connsiteY4" fmla="*/ 3360360 h 4032448"/>
              <a:gd name="connsiteX5" fmla="*/ 5552500 w 6255181"/>
              <a:gd name="connsiteY5" fmla="*/ 4032448 h 4032448"/>
              <a:gd name="connsiteX6" fmla="*/ 672088 w 6255181"/>
              <a:gd name="connsiteY6" fmla="*/ 4032448 h 4032448"/>
              <a:gd name="connsiteX7" fmla="*/ 0 w 6255181"/>
              <a:gd name="connsiteY7" fmla="*/ 3360360 h 4032448"/>
              <a:gd name="connsiteX8" fmla="*/ 0 w 6255181"/>
              <a:gd name="connsiteY8" fmla="*/ 672088 h 4032448"/>
              <a:gd name="connsiteX0" fmla="*/ 0 w 6255181"/>
              <a:gd name="connsiteY0" fmla="*/ 672088 h 4032448"/>
              <a:gd name="connsiteX1" fmla="*/ 672088 w 6255181"/>
              <a:gd name="connsiteY1" fmla="*/ 0 h 4032448"/>
              <a:gd name="connsiteX2" fmla="*/ 5552500 w 6255181"/>
              <a:gd name="connsiteY2" fmla="*/ 0 h 4032448"/>
              <a:gd name="connsiteX3" fmla="*/ 6224588 w 6255181"/>
              <a:gd name="connsiteY3" fmla="*/ 672088 h 4032448"/>
              <a:gd name="connsiteX4" fmla="*/ 6255181 w 6255181"/>
              <a:gd name="connsiteY4" fmla="*/ 3360360 h 4032448"/>
              <a:gd name="connsiteX5" fmla="*/ 5552500 w 6255181"/>
              <a:gd name="connsiteY5" fmla="*/ 4032448 h 4032448"/>
              <a:gd name="connsiteX6" fmla="*/ 672088 w 6255181"/>
              <a:gd name="connsiteY6" fmla="*/ 4032448 h 4032448"/>
              <a:gd name="connsiteX7" fmla="*/ 0 w 6255181"/>
              <a:gd name="connsiteY7" fmla="*/ 3360360 h 4032448"/>
              <a:gd name="connsiteX8" fmla="*/ 0 w 6255181"/>
              <a:gd name="connsiteY8" fmla="*/ 672088 h 4032448"/>
              <a:gd name="connsiteX0" fmla="*/ 0 w 6255181"/>
              <a:gd name="connsiteY0" fmla="*/ 672088 h 4032448"/>
              <a:gd name="connsiteX1" fmla="*/ 672088 w 6255181"/>
              <a:gd name="connsiteY1" fmla="*/ 0 h 4032448"/>
              <a:gd name="connsiteX2" fmla="*/ 5552500 w 6255181"/>
              <a:gd name="connsiteY2" fmla="*/ 0 h 4032448"/>
              <a:gd name="connsiteX3" fmla="*/ 6224588 w 6255181"/>
              <a:gd name="connsiteY3" fmla="*/ 672088 h 4032448"/>
              <a:gd name="connsiteX4" fmla="*/ 6255181 w 6255181"/>
              <a:gd name="connsiteY4" fmla="*/ 3360360 h 4032448"/>
              <a:gd name="connsiteX5" fmla="*/ 5552500 w 6255181"/>
              <a:gd name="connsiteY5" fmla="*/ 4032448 h 4032448"/>
              <a:gd name="connsiteX6" fmla="*/ 672088 w 6255181"/>
              <a:gd name="connsiteY6" fmla="*/ 4032448 h 4032448"/>
              <a:gd name="connsiteX7" fmla="*/ 0 w 6255181"/>
              <a:gd name="connsiteY7" fmla="*/ 3360360 h 4032448"/>
              <a:gd name="connsiteX8" fmla="*/ 0 w 6255181"/>
              <a:gd name="connsiteY8" fmla="*/ 672088 h 4032448"/>
              <a:gd name="connsiteX0" fmla="*/ 0 w 6831278"/>
              <a:gd name="connsiteY0" fmla="*/ 672088 h 4032448"/>
              <a:gd name="connsiteX1" fmla="*/ 672088 w 6831278"/>
              <a:gd name="connsiteY1" fmla="*/ 0 h 4032448"/>
              <a:gd name="connsiteX2" fmla="*/ 5552500 w 6831278"/>
              <a:gd name="connsiteY2" fmla="*/ 0 h 4032448"/>
              <a:gd name="connsiteX3" fmla="*/ 6831278 w 6831278"/>
              <a:gd name="connsiteY3" fmla="*/ 637171 h 4032448"/>
              <a:gd name="connsiteX4" fmla="*/ 6255181 w 6831278"/>
              <a:gd name="connsiteY4" fmla="*/ 3360360 h 4032448"/>
              <a:gd name="connsiteX5" fmla="*/ 5552500 w 6831278"/>
              <a:gd name="connsiteY5" fmla="*/ 4032448 h 4032448"/>
              <a:gd name="connsiteX6" fmla="*/ 672088 w 6831278"/>
              <a:gd name="connsiteY6" fmla="*/ 4032448 h 4032448"/>
              <a:gd name="connsiteX7" fmla="*/ 0 w 6831278"/>
              <a:gd name="connsiteY7" fmla="*/ 3360360 h 4032448"/>
              <a:gd name="connsiteX8" fmla="*/ 0 w 6831278"/>
              <a:gd name="connsiteY8" fmla="*/ 672088 h 4032448"/>
              <a:gd name="connsiteX0" fmla="*/ 0 w 6831278"/>
              <a:gd name="connsiteY0" fmla="*/ 672088 h 4032448"/>
              <a:gd name="connsiteX1" fmla="*/ 672088 w 6831278"/>
              <a:gd name="connsiteY1" fmla="*/ 0 h 4032448"/>
              <a:gd name="connsiteX2" fmla="*/ 5552500 w 6831278"/>
              <a:gd name="connsiteY2" fmla="*/ 0 h 4032448"/>
              <a:gd name="connsiteX3" fmla="*/ 6831278 w 6831278"/>
              <a:gd name="connsiteY3" fmla="*/ 637171 h 4032448"/>
              <a:gd name="connsiteX4" fmla="*/ 6255181 w 6831278"/>
              <a:gd name="connsiteY4" fmla="*/ 3360360 h 4032448"/>
              <a:gd name="connsiteX5" fmla="*/ 5552500 w 6831278"/>
              <a:gd name="connsiteY5" fmla="*/ 4032448 h 4032448"/>
              <a:gd name="connsiteX6" fmla="*/ 672088 w 6831278"/>
              <a:gd name="connsiteY6" fmla="*/ 4032448 h 4032448"/>
              <a:gd name="connsiteX7" fmla="*/ 0 w 6831278"/>
              <a:gd name="connsiteY7" fmla="*/ 3360360 h 4032448"/>
              <a:gd name="connsiteX8" fmla="*/ 0 w 6831278"/>
              <a:gd name="connsiteY8" fmla="*/ 672088 h 4032448"/>
              <a:gd name="connsiteX0" fmla="*/ 0 w 6860604"/>
              <a:gd name="connsiteY0" fmla="*/ 709311 h 4069671"/>
              <a:gd name="connsiteX1" fmla="*/ 672088 w 6860604"/>
              <a:gd name="connsiteY1" fmla="*/ 37223 h 4069671"/>
              <a:gd name="connsiteX2" fmla="*/ 5552500 w 6860604"/>
              <a:gd name="connsiteY2" fmla="*/ 37223 h 4069671"/>
              <a:gd name="connsiteX3" fmla="*/ 6831278 w 6860604"/>
              <a:gd name="connsiteY3" fmla="*/ 674394 h 4069671"/>
              <a:gd name="connsiteX4" fmla="*/ 6255181 w 6860604"/>
              <a:gd name="connsiteY4" fmla="*/ 3397583 h 4069671"/>
              <a:gd name="connsiteX5" fmla="*/ 5552500 w 6860604"/>
              <a:gd name="connsiteY5" fmla="*/ 4069671 h 4069671"/>
              <a:gd name="connsiteX6" fmla="*/ 672088 w 6860604"/>
              <a:gd name="connsiteY6" fmla="*/ 4069671 h 4069671"/>
              <a:gd name="connsiteX7" fmla="*/ 0 w 6860604"/>
              <a:gd name="connsiteY7" fmla="*/ 3397583 h 4069671"/>
              <a:gd name="connsiteX8" fmla="*/ 0 w 6860604"/>
              <a:gd name="connsiteY8" fmla="*/ 709311 h 4069671"/>
              <a:gd name="connsiteX0" fmla="*/ 0 w 6862665"/>
              <a:gd name="connsiteY0" fmla="*/ 680502 h 4040862"/>
              <a:gd name="connsiteX1" fmla="*/ 672088 w 6862665"/>
              <a:gd name="connsiteY1" fmla="*/ 8414 h 4040862"/>
              <a:gd name="connsiteX2" fmla="*/ 5552500 w 6862665"/>
              <a:gd name="connsiteY2" fmla="*/ 8414 h 4040862"/>
              <a:gd name="connsiteX3" fmla="*/ 6831278 w 6862665"/>
              <a:gd name="connsiteY3" fmla="*/ 645585 h 4040862"/>
              <a:gd name="connsiteX4" fmla="*/ 6255181 w 6862665"/>
              <a:gd name="connsiteY4" fmla="*/ 3368774 h 4040862"/>
              <a:gd name="connsiteX5" fmla="*/ 5552500 w 6862665"/>
              <a:gd name="connsiteY5" fmla="*/ 4040862 h 4040862"/>
              <a:gd name="connsiteX6" fmla="*/ 672088 w 6862665"/>
              <a:gd name="connsiteY6" fmla="*/ 4040862 h 4040862"/>
              <a:gd name="connsiteX7" fmla="*/ 0 w 6862665"/>
              <a:gd name="connsiteY7" fmla="*/ 3368774 h 4040862"/>
              <a:gd name="connsiteX8" fmla="*/ 0 w 6862665"/>
              <a:gd name="connsiteY8" fmla="*/ 680502 h 4040862"/>
              <a:gd name="connsiteX0" fmla="*/ 0 w 6863254"/>
              <a:gd name="connsiteY0" fmla="*/ 688713 h 4049073"/>
              <a:gd name="connsiteX1" fmla="*/ 672088 w 6863254"/>
              <a:gd name="connsiteY1" fmla="*/ 16625 h 4049073"/>
              <a:gd name="connsiteX2" fmla="*/ 5552500 w 6863254"/>
              <a:gd name="connsiteY2" fmla="*/ 16625 h 4049073"/>
              <a:gd name="connsiteX3" fmla="*/ 6831278 w 6863254"/>
              <a:gd name="connsiteY3" fmla="*/ 653796 h 4049073"/>
              <a:gd name="connsiteX4" fmla="*/ 6255181 w 6863254"/>
              <a:gd name="connsiteY4" fmla="*/ 3376985 h 4049073"/>
              <a:gd name="connsiteX5" fmla="*/ 5552500 w 6863254"/>
              <a:gd name="connsiteY5" fmla="*/ 4049073 h 4049073"/>
              <a:gd name="connsiteX6" fmla="*/ 672088 w 6863254"/>
              <a:gd name="connsiteY6" fmla="*/ 4049073 h 4049073"/>
              <a:gd name="connsiteX7" fmla="*/ 0 w 6863254"/>
              <a:gd name="connsiteY7" fmla="*/ 3376985 h 4049073"/>
              <a:gd name="connsiteX8" fmla="*/ 0 w 6863254"/>
              <a:gd name="connsiteY8" fmla="*/ 688713 h 4049073"/>
              <a:gd name="connsiteX0" fmla="*/ 0 w 6863864"/>
              <a:gd name="connsiteY0" fmla="*/ 694884 h 4055244"/>
              <a:gd name="connsiteX1" fmla="*/ 672088 w 6863864"/>
              <a:gd name="connsiteY1" fmla="*/ 22796 h 4055244"/>
              <a:gd name="connsiteX2" fmla="*/ 5552500 w 6863864"/>
              <a:gd name="connsiteY2" fmla="*/ 22796 h 4055244"/>
              <a:gd name="connsiteX3" fmla="*/ 6831278 w 6863864"/>
              <a:gd name="connsiteY3" fmla="*/ 659967 h 4055244"/>
              <a:gd name="connsiteX4" fmla="*/ 6255181 w 6863864"/>
              <a:gd name="connsiteY4" fmla="*/ 3383156 h 4055244"/>
              <a:gd name="connsiteX5" fmla="*/ 5552500 w 6863864"/>
              <a:gd name="connsiteY5" fmla="*/ 4055244 h 4055244"/>
              <a:gd name="connsiteX6" fmla="*/ 672088 w 6863864"/>
              <a:gd name="connsiteY6" fmla="*/ 4055244 h 4055244"/>
              <a:gd name="connsiteX7" fmla="*/ 0 w 6863864"/>
              <a:gd name="connsiteY7" fmla="*/ 3383156 h 4055244"/>
              <a:gd name="connsiteX8" fmla="*/ 0 w 6863864"/>
              <a:gd name="connsiteY8" fmla="*/ 694884 h 4055244"/>
              <a:gd name="connsiteX0" fmla="*/ 0 w 6831278"/>
              <a:gd name="connsiteY0" fmla="*/ 729568 h 4089928"/>
              <a:gd name="connsiteX1" fmla="*/ 672088 w 6831278"/>
              <a:gd name="connsiteY1" fmla="*/ 57480 h 4089928"/>
              <a:gd name="connsiteX2" fmla="*/ 5552500 w 6831278"/>
              <a:gd name="connsiteY2" fmla="*/ 57480 h 4089928"/>
              <a:gd name="connsiteX3" fmla="*/ 6110066 w 6831278"/>
              <a:gd name="connsiteY3" fmla="*/ 44477 h 4089928"/>
              <a:gd name="connsiteX4" fmla="*/ 6831278 w 6831278"/>
              <a:gd name="connsiteY4" fmla="*/ 694651 h 4089928"/>
              <a:gd name="connsiteX5" fmla="*/ 6255181 w 6831278"/>
              <a:gd name="connsiteY5" fmla="*/ 3417840 h 4089928"/>
              <a:gd name="connsiteX6" fmla="*/ 5552500 w 6831278"/>
              <a:gd name="connsiteY6" fmla="*/ 4089928 h 4089928"/>
              <a:gd name="connsiteX7" fmla="*/ 672088 w 6831278"/>
              <a:gd name="connsiteY7" fmla="*/ 4089928 h 4089928"/>
              <a:gd name="connsiteX8" fmla="*/ 0 w 6831278"/>
              <a:gd name="connsiteY8" fmla="*/ 3417840 h 4089928"/>
              <a:gd name="connsiteX9" fmla="*/ 0 w 6831278"/>
              <a:gd name="connsiteY9" fmla="*/ 729568 h 4089928"/>
              <a:gd name="connsiteX0" fmla="*/ 0 w 6831278"/>
              <a:gd name="connsiteY0" fmla="*/ 685091 h 4045451"/>
              <a:gd name="connsiteX1" fmla="*/ 672088 w 6831278"/>
              <a:gd name="connsiteY1" fmla="*/ 13003 h 4045451"/>
              <a:gd name="connsiteX2" fmla="*/ 5552500 w 6831278"/>
              <a:gd name="connsiteY2" fmla="*/ 13003 h 4045451"/>
              <a:gd name="connsiteX3" fmla="*/ 6110066 w 6831278"/>
              <a:gd name="connsiteY3" fmla="*/ 0 h 4045451"/>
              <a:gd name="connsiteX4" fmla="*/ 6831278 w 6831278"/>
              <a:gd name="connsiteY4" fmla="*/ 650174 h 4045451"/>
              <a:gd name="connsiteX5" fmla="*/ 6255181 w 6831278"/>
              <a:gd name="connsiteY5" fmla="*/ 3373363 h 4045451"/>
              <a:gd name="connsiteX6" fmla="*/ 5552500 w 6831278"/>
              <a:gd name="connsiteY6" fmla="*/ 4045451 h 4045451"/>
              <a:gd name="connsiteX7" fmla="*/ 672088 w 6831278"/>
              <a:gd name="connsiteY7" fmla="*/ 4045451 h 4045451"/>
              <a:gd name="connsiteX8" fmla="*/ 0 w 6831278"/>
              <a:gd name="connsiteY8" fmla="*/ 3373363 h 4045451"/>
              <a:gd name="connsiteX9" fmla="*/ 0 w 6831278"/>
              <a:gd name="connsiteY9" fmla="*/ 685091 h 4045451"/>
              <a:gd name="connsiteX0" fmla="*/ 0 w 6831278"/>
              <a:gd name="connsiteY0" fmla="*/ 687376 h 4047736"/>
              <a:gd name="connsiteX1" fmla="*/ 672088 w 6831278"/>
              <a:gd name="connsiteY1" fmla="*/ 15288 h 4047736"/>
              <a:gd name="connsiteX2" fmla="*/ 5552500 w 6831278"/>
              <a:gd name="connsiteY2" fmla="*/ 15288 h 4047736"/>
              <a:gd name="connsiteX3" fmla="*/ 6110066 w 6831278"/>
              <a:gd name="connsiteY3" fmla="*/ 2285 h 4047736"/>
              <a:gd name="connsiteX4" fmla="*/ 6831278 w 6831278"/>
              <a:gd name="connsiteY4" fmla="*/ 652459 h 4047736"/>
              <a:gd name="connsiteX5" fmla="*/ 6255181 w 6831278"/>
              <a:gd name="connsiteY5" fmla="*/ 3375648 h 4047736"/>
              <a:gd name="connsiteX6" fmla="*/ 5552500 w 6831278"/>
              <a:gd name="connsiteY6" fmla="*/ 4047736 h 4047736"/>
              <a:gd name="connsiteX7" fmla="*/ 672088 w 6831278"/>
              <a:gd name="connsiteY7" fmla="*/ 4047736 h 4047736"/>
              <a:gd name="connsiteX8" fmla="*/ 0 w 6831278"/>
              <a:gd name="connsiteY8" fmla="*/ 3375648 h 4047736"/>
              <a:gd name="connsiteX9" fmla="*/ 0 w 6831278"/>
              <a:gd name="connsiteY9" fmla="*/ 687376 h 4047736"/>
              <a:gd name="connsiteX0" fmla="*/ 0 w 6856408"/>
              <a:gd name="connsiteY0" fmla="*/ 686464 h 4046824"/>
              <a:gd name="connsiteX1" fmla="*/ 672088 w 6856408"/>
              <a:gd name="connsiteY1" fmla="*/ 14376 h 4046824"/>
              <a:gd name="connsiteX2" fmla="*/ 5552500 w 6856408"/>
              <a:gd name="connsiteY2" fmla="*/ 14376 h 4046824"/>
              <a:gd name="connsiteX3" fmla="*/ 6110066 w 6856408"/>
              <a:gd name="connsiteY3" fmla="*/ 1373 h 4046824"/>
              <a:gd name="connsiteX4" fmla="*/ 6831278 w 6856408"/>
              <a:gd name="connsiteY4" fmla="*/ 651547 h 4046824"/>
              <a:gd name="connsiteX5" fmla="*/ 6255181 w 6856408"/>
              <a:gd name="connsiteY5" fmla="*/ 3374736 h 4046824"/>
              <a:gd name="connsiteX6" fmla="*/ 5552500 w 6856408"/>
              <a:gd name="connsiteY6" fmla="*/ 4046824 h 4046824"/>
              <a:gd name="connsiteX7" fmla="*/ 672088 w 6856408"/>
              <a:gd name="connsiteY7" fmla="*/ 4046824 h 4046824"/>
              <a:gd name="connsiteX8" fmla="*/ 0 w 6856408"/>
              <a:gd name="connsiteY8" fmla="*/ 3374736 h 4046824"/>
              <a:gd name="connsiteX9" fmla="*/ 0 w 6856408"/>
              <a:gd name="connsiteY9" fmla="*/ 686464 h 4046824"/>
              <a:gd name="connsiteX0" fmla="*/ 0 w 6856792"/>
              <a:gd name="connsiteY0" fmla="*/ 690375 h 4050735"/>
              <a:gd name="connsiteX1" fmla="*/ 672088 w 6856792"/>
              <a:gd name="connsiteY1" fmla="*/ 18287 h 4050735"/>
              <a:gd name="connsiteX2" fmla="*/ 5552500 w 6856792"/>
              <a:gd name="connsiteY2" fmla="*/ 18287 h 4050735"/>
              <a:gd name="connsiteX3" fmla="*/ 6110066 w 6856792"/>
              <a:gd name="connsiteY3" fmla="*/ 5284 h 4050735"/>
              <a:gd name="connsiteX4" fmla="*/ 6831278 w 6856792"/>
              <a:gd name="connsiteY4" fmla="*/ 655458 h 4050735"/>
              <a:gd name="connsiteX5" fmla="*/ 6255181 w 6856792"/>
              <a:gd name="connsiteY5" fmla="*/ 3378647 h 4050735"/>
              <a:gd name="connsiteX6" fmla="*/ 5552500 w 6856792"/>
              <a:gd name="connsiteY6" fmla="*/ 4050735 h 4050735"/>
              <a:gd name="connsiteX7" fmla="*/ 672088 w 6856792"/>
              <a:gd name="connsiteY7" fmla="*/ 4050735 h 4050735"/>
              <a:gd name="connsiteX8" fmla="*/ 0 w 6856792"/>
              <a:gd name="connsiteY8" fmla="*/ 3378647 h 4050735"/>
              <a:gd name="connsiteX9" fmla="*/ 0 w 6856792"/>
              <a:gd name="connsiteY9" fmla="*/ 690375 h 4050735"/>
              <a:gd name="connsiteX0" fmla="*/ 0 w 6856380"/>
              <a:gd name="connsiteY0" fmla="*/ 690375 h 4050735"/>
              <a:gd name="connsiteX1" fmla="*/ 672088 w 6856380"/>
              <a:gd name="connsiteY1" fmla="*/ 18287 h 4050735"/>
              <a:gd name="connsiteX2" fmla="*/ 5552500 w 6856380"/>
              <a:gd name="connsiteY2" fmla="*/ 18287 h 4050735"/>
              <a:gd name="connsiteX3" fmla="*/ 6105377 w 6856380"/>
              <a:gd name="connsiteY3" fmla="*/ 5284 h 4050735"/>
              <a:gd name="connsiteX4" fmla="*/ 6831278 w 6856380"/>
              <a:gd name="connsiteY4" fmla="*/ 655458 h 4050735"/>
              <a:gd name="connsiteX5" fmla="*/ 6255181 w 6856380"/>
              <a:gd name="connsiteY5" fmla="*/ 3378647 h 4050735"/>
              <a:gd name="connsiteX6" fmla="*/ 5552500 w 6856380"/>
              <a:gd name="connsiteY6" fmla="*/ 4050735 h 4050735"/>
              <a:gd name="connsiteX7" fmla="*/ 672088 w 6856380"/>
              <a:gd name="connsiteY7" fmla="*/ 4050735 h 4050735"/>
              <a:gd name="connsiteX8" fmla="*/ 0 w 6856380"/>
              <a:gd name="connsiteY8" fmla="*/ 3378647 h 4050735"/>
              <a:gd name="connsiteX9" fmla="*/ 0 w 6856380"/>
              <a:gd name="connsiteY9"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974257 w 6856380"/>
              <a:gd name="connsiteY1" fmla="*/ 3351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3378647 h 4050735"/>
              <a:gd name="connsiteX1" fmla="*/ 974257 w 6856380"/>
              <a:gd name="connsiteY1" fmla="*/ 3351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0" fmla="*/ 418709 w 6603001"/>
              <a:gd name="connsiteY0" fmla="*/ 4050735 h 4050735"/>
              <a:gd name="connsiteX1" fmla="*/ 720878 w 6603001"/>
              <a:gd name="connsiteY1" fmla="*/ 3351 h 4050735"/>
              <a:gd name="connsiteX2" fmla="*/ 4482742 w 6603001"/>
              <a:gd name="connsiteY2" fmla="*/ 14663 h 4050735"/>
              <a:gd name="connsiteX3" fmla="*/ 5299121 w 6603001"/>
              <a:gd name="connsiteY3" fmla="*/ 8908 h 4050735"/>
              <a:gd name="connsiteX4" fmla="*/ 5851998 w 6603001"/>
              <a:gd name="connsiteY4" fmla="*/ 5284 h 4050735"/>
              <a:gd name="connsiteX5" fmla="*/ 6577899 w 6603001"/>
              <a:gd name="connsiteY5" fmla="*/ 655458 h 4050735"/>
              <a:gd name="connsiteX6" fmla="*/ 6001802 w 6603001"/>
              <a:gd name="connsiteY6" fmla="*/ 3378647 h 4050735"/>
              <a:gd name="connsiteX7" fmla="*/ 5299121 w 6603001"/>
              <a:gd name="connsiteY7" fmla="*/ 4050735 h 4050735"/>
              <a:gd name="connsiteX8" fmla="*/ 418709 w 6603001"/>
              <a:gd name="connsiteY8" fmla="*/ 4050735 h 4050735"/>
              <a:gd name="connsiteX0" fmla="*/ 0 w 6184292"/>
              <a:gd name="connsiteY0" fmla="*/ 4050735 h 4050735"/>
              <a:gd name="connsiteX1" fmla="*/ 302169 w 6184292"/>
              <a:gd name="connsiteY1" fmla="*/ 3351 h 4050735"/>
              <a:gd name="connsiteX2" fmla="*/ 4064033 w 6184292"/>
              <a:gd name="connsiteY2" fmla="*/ 14663 h 4050735"/>
              <a:gd name="connsiteX3" fmla="*/ 4880412 w 6184292"/>
              <a:gd name="connsiteY3" fmla="*/ 8908 h 4050735"/>
              <a:gd name="connsiteX4" fmla="*/ 5433289 w 6184292"/>
              <a:gd name="connsiteY4" fmla="*/ 5284 h 4050735"/>
              <a:gd name="connsiteX5" fmla="*/ 6159190 w 6184292"/>
              <a:gd name="connsiteY5" fmla="*/ 655458 h 4050735"/>
              <a:gd name="connsiteX6" fmla="*/ 5583093 w 6184292"/>
              <a:gd name="connsiteY6" fmla="*/ 3378647 h 4050735"/>
              <a:gd name="connsiteX7" fmla="*/ 4880412 w 6184292"/>
              <a:gd name="connsiteY7" fmla="*/ 4050735 h 4050735"/>
              <a:gd name="connsiteX8" fmla="*/ 0 w 6184292"/>
              <a:gd name="connsiteY8" fmla="*/ 4050735 h 4050735"/>
              <a:gd name="connsiteX0" fmla="*/ 0 w 5913599"/>
              <a:gd name="connsiteY0" fmla="*/ 4043267 h 4050735"/>
              <a:gd name="connsiteX1" fmla="*/ 31476 w 5913599"/>
              <a:gd name="connsiteY1" fmla="*/ 3351 h 4050735"/>
              <a:gd name="connsiteX2" fmla="*/ 3793340 w 5913599"/>
              <a:gd name="connsiteY2" fmla="*/ 14663 h 4050735"/>
              <a:gd name="connsiteX3" fmla="*/ 4609719 w 5913599"/>
              <a:gd name="connsiteY3" fmla="*/ 8908 h 4050735"/>
              <a:gd name="connsiteX4" fmla="*/ 5162596 w 5913599"/>
              <a:gd name="connsiteY4" fmla="*/ 5284 h 4050735"/>
              <a:gd name="connsiteX5" fmla="*/ 5888497 w 5913599"/>
              <a:gd name="connsiteY5" fmla="*/ 655458 h 4050735"/>
              <a:gd name="connsiteX6" fmla="*/ 5312400 w 5913599"/>
              <a:gd name="connsiteY6" fmla="*/ 3378647 h 4050735"/>
              <a:gd name="connsiteX7" fmla="*/ 4609719 w 5913599"/>
              <a:gd name="connsiteY7" fmla="*/ 4050735 h 4050735"/>
              <a:gd name="connsiteX8" fmla="*/ 0 w 5913599"/>
              <a:gd name="connsiteY8" fmla="*/ 4043267 h 4050735"/>
              <a:gd name="connsiteX0" fmla="*/ 6295 w 5919894"/>
              <a:gd name="connsiteY0" fmla="*/ 4043267 h 4050735"/>
              <a:gd name="connsiteX1" fmla="*/ 0 w 5919894"/>
              <a:gd name="connsiteY1" fmla="*/ 3351 h 4050735"/>
              <a:gd name="connsiteX2" fmla="*/ 3799635 w 5919894"/>
              <a:gd name="connsiteY2" fmla="*/ 14663 h 4050735"/>
              <a:gd name="connsiteX3" fmla="*/ 4616014 w 5919894"/>
              <a:gd name="connsiteY3" fmla="*/ 8908 h 4050735"/>
              <a:gd name="connsiteX4" fmla="*/ 5168891 w 5919894"/>
              <a:gd name="connsiteY4" fmla="*/ 5284 h 4050735"/>
              <a:gd name="connsiteX5" fmla="*/ 5894792 w 5919894"/>
              <a:gd name="connsiteY5" fmla="*/ 655458 h 4050735"/>
              <a:gd name="connsiteX6" fmla="*/ 5318695 w 5919894"/>
              <a:gd name="connsiteY6" fmla="*/ 3378647 h 4050735"/>
              <a:gd name="connsiteX7" fmla="*/ 4616014 w 5919894"/>
              <a:gd name="connsiteY7" fmla="*/ 4050735 h 4050735"/>
              <a:gd name="connsiteX8" fmla="*/ 6295 w 5919894"/>
              <a:gd name="connsiteY8" fmla="*/ 4043267 h 4050735"/>
              <a:gd name="connsiteX0" fmla="*/ 6295 w 5919894"/>
              <a:gd name="connsiteY0" fmla="*/ 4043267 h 4050735"/>
              <a:gd name="connsiteX1" fmla="*/ 0 w 5919894"/>
              <a:gd name="connsiteY1" fmla="*/ 3351 h 4050735"/>
              <a:gd name="connsiteX2" fmla="*/ 3799635 w 5919894"/>
              <a:gd name="connsiteY2" fmla="*/ 14663 h 4050735"/>
              <a:gd name="connsiteX3" fmla="*/ 4616014 w 5919894"/>
              <a:gd name="connsiteY3" fmla="*/ 8908 h 4050735"/>
              <a:gd name="connsiteX4" fmla="*/ 5168891 w 5919894"/>
              <a:gd name="connsiteY4" fmla="*/ 5284 h 4050735"/>
              <a:gd name="connsiteX5" fmla="*/ 5894792 w 5919894"/>
              <a:gd name="connsiteY5" fmla="*/ 655458 h 4050735"/>
              <a:gd name="connsiteX6" fmla="*/ 5318695 w 5919894"/>
              <a:gd name="connsiteY6" fmla="*/ 3378647 h 4050735"/>
              <a:gd name="connsiteX7" fmla="*/ 4616014 w 5919894"/>
              <a:gd name="connsiteY7" fmla="*/ 4050735 h 4050735"/>
              <a:gd name="connsiteX8" fmla="*/ 6295 w 5919894"/>
              <a:gd name="connsiteY8" fmla="*/ 4043267 h 4050735"/>
              <a:gd name="connsiteX0" fmla="*/ 639284 w 6552883"/>
              <a:gd name="connsiteY0" fmla="*/ 4043267 h 4050735"/>
              <a:gd name="connsiteX1" fmla="*/ 0 w 6552883"/>
              <a:gd name="connsiteY1" fmla="*/ 3351 h 4050735"/>
              <a:gd name="connsiteX2" fmla="*/ 4432624 w 6552883"/>
              <a:gd name="connsiteY2" fmla="*/ 14663 h 4050735"/>
              <a:gd name="connsiteX3" fmla="*/ 5249003 w 6552883"/>
              <a:gd name="connsiteY3" fmla="*/ 8908 h 4050735"/>
              <a:gd name="connsiteX4" fmla="*/ 5801880 w 6552883"/>
              <a:gd name="connsiteY4" fmla="*/ 5284 h 4050735"/>
              <a:gd name="connsiteX5" fmla="*/ 6527781 w 6552883"/>
              <a:gd name="connsiteY5" fmla="*/ 655458 h 4050735"/>
              <a:gd name="connsiteX6" fmla="*/ 5951684 w 6552883"/>
              <a:gd name="connsiteY6" fmla="*/ 3378647 h 4050735"/>
              <a:gd name="connsiteX7" fmla="*/ 5249003 w 6552883"/>
              <a:gd name="connsiteY7" fmla="*/ 4050735 h 4050735"/>
              <a:gd name="connsiteX8" fmla="*/ 639284 w 6552883"/>
              <a:gd name="connsiteY8" fmla="*/ 4043267 h 4050735"/>
              <a:gd name="connsiteX0" fmla="*/ 26 w 6670601"/>
              <a:gd name="connsiteY0" fmla="*/ 4043268 h 4050735"/>
              <a:gd name="connsiteX1" fmla="*/ 117718 w 6670601"/>
              <a:gd name="connsiteY1" fmla="*/ 3351 h 4050735"/>
              <a:gd name="connsiteX2" fmla="*/ 4550342 w 6670601"/>
              <a:gd name="connsiteY2" fmla="*/ 14663 h 4050735"/>
              <a:gd name="connsiteX3" fmla="*/ 5366721 w 6670601"/>
              <a:gd name="connsiteY3" fmla="*/ 8908 h 4050735"/>
              <a:gd name="connsiteX4" fmla="*/ 5919598 w 6670601"/>
              <a:gd name="connsiteY4" fmla="*/ 5284 h 4050735"/>
              <a:gd name="connsiteX5" fmla="*/ 6645499 w 6670601"/>
              <a:gd name="connsiteY5" fmla="*/ 655458 h 4050735"/>
              <a:gd name="connsiteX6" fmla="*/ 6069402 w 6670601"/>
              <a:gd name="connsiteY6" fmla="*/ 3378647 h 4050735"/>
              <a:gd name="connsiteX7" fmla="*/ 5366721 w 6670601"/>
              <a:gd name="connsiteY7" fmla="*/ 4050735 h 4050735"/>
              <a:gd name="connsiteX8" fmla="*/ 26 w 6670601"/>
              <a:gd name="connsiteY8" fmla="*/ 4043268 h 4050735"/>
              <a:gd name="connsiteX0" fmla="*/ 12822 w 6683397"/>
              <a:gd name="connsiteY0" fmla="*/ 4043268 h 4050735"/>
              <a:gd name="connsiteX1" fmla="*/ 0 w 6683397"/>
              <a:gd name="connsiteY1" fmla="*/ 3351 h 4050735"/>
              <a:gd name="connsiteX2" fmla="*/ 4563138 w 6683397"/>
              <a:gd name="connsiteY2" fmla="*/ 14663 h 4050735"/>
              <a:gd name="connsiteX3" fmla="*/ 5379517 w 6683397"/>
              <a:gd name="connsiteY3" fmla="*/ 8908 h 4050735"/>
              <a:gd name="connsiteX4" fmla="*/ 5932394 w 6683397"/>
              <a:gd name="connsiteY4" fmla="*/ 5284 h 4050735"/>
              <a:gd name="connsiteX5" fmla="*/ 6658295 w 6683397"/>
              <a:gd name="connsiteY5" fmla="*/ 655458 h 4050735"/>
              <a:gd name="connsiteX6" fmla="*/ 6082198 w 6683397"/>
              <a:gd name="connsiteY6" fmla="*/ 3378647 h 4050735"/>
              <a:gd name="connsiteX7" fmla="*/ 5379517 w 6683397"/>
              <a:gd name="connsiteY7" fmla="*/ 4050735 h 4050735"/>
              <a:gd name="connsiteX8" fmla="*/ 12822 w 6683397"/>
              <a:gd name="connsiteY8" fmla="*/ 4043268 h 4050735"/>
              <a:gd name="connsiteX0" fmla="*/ 12822 w 6683397"/>
              <a:gd name="connsiteY0" fmla="*/ 4043268 h 4050735"/>
              <a:gd name="connsiteX1" fmla="*/ 0 w 6683397"/>
              <a:gd name="connsiteY1" fmla="*/ 3351 h 4050735"/>
              <a:gd name="connsiteX2" fmla="*/ 4563138 w 6683397"/>
              <a:gd name="connsiteY2" fmla="*/ 14663 h 4050735"/>
              <a:gd name="connsiteX3" fmla="*/ 5379517 w 6683397"/>
              <a:gd name="connsiteY3" fmla="*/ 8908 h 4050735"/>
              <a:gd name="connsiteX4" fmla="*/ 5932394 w 6683397"/>
              <a:gd name="connsiteY4" fmla="*/ 5284 h 4050735"/>
              <a:gd name="connsiteX5" fmla="*/ 6658295 w 6683397"/>
              <a:gd name="connsiteY5" fmla="*/ 655458 h 4050735"/>
              <a:gd name="connsiteX6" fmla="*/ 6082198 w 6683397"/>
              <a:gd name="connsiteY6" fmla="*/ 3378647 h 4050735"/>
              <a:gd name="connsiteX7" fmla="*/ 5379517 w 6683397"/>
              <a:gd name="connsiteY7" fmla="*/ 4050735 h 4050735"/>
              <a:gd name="connsiteX8" fmla="*/ 12822 w 6683397"/>
              <a:gd name="connsiteY8" fmla="*/ 4043268 h 4050735"/>
              <a:gd name="connsiteX0" fmla="*/ 12822 w 6683397"/>
              <a:gd name="connsiteY0" fmla="*/ 4043268 h 4050735"/>
              <a:gd name="connsiteX1" fmla="*/ 0 w 6683397"/>
              <a:gd name="connsiteY1" fmla="*/ 3351 h 4050735"/>
              <a:gd name="connsiteX2" fmla="*/ 1396830 w 6683397"/>
              <a:gd name="connsiteY2" fmla="*/ 14200 h 4050735"/>
              <a:gd name="connsiteX3" fmla="*/ 4563138 w 6683397"/>
              <a:gd name="connsiteY3" fmla="*/ 14663 h 4050735"/>
              <a:gd name="connsiteX4" fmla="*/ 5379517 w 6683397"/>
              <a:gd name="connsiteY4" fmla="*/ 8908 h 4050735"/>
              <a:gd name="connsiteX5" fmla="*/ 5932394 w 6683397"/>
              <a:gd name="connsiteY5" fmla="*/ 5284 h 4050735"/>
              <a:gd name="connsiteX6" fmla="*/ 6658295 w 6683397"/>
              <a:gd name="connsiteY6" fmla="*/ 655458 h 4050735"/>
              <a:gd name="connsiteX7" fmla="*/ 6082198 w 6683397"/>
              <a:gd name="connsiteY7" fmla="*/ 3378647 h 4050735"/>
              <a:gd name="connsiteX8" fmla="*/ 5379517 w 6683397"/>
              <a:gd name="connsiteY8" fmla="*/ 4050735 h 4050735"/>
              <a:gd name="connsiteX9" fmla="*/ 12822 w 6683397"/>
              <a:gd name="connsiteY9" fmla="*/ 4043268 h 4050735"/>
              <a:gd name="connsiteX0" fmla="*/ 1291277 w 7961852"/>
              <a:gd name="connsiteY0" fmla="*/ 4089172 h 4096639"/>
              <a:gd name="connsiteX1" fmla="*/ 0 w 7961852"/>
              <a:gd name="connsiteY1" fmla="*/ 0 h 4096639"/>
              <a:gd name="connsiteX2" fmla="*/ 2675285 w 7961852"/>
              <a:gd name="connsiteY2" fmla="*/ 60104 h 4096639"/>
              <a:gd name="connsiteX3" fmla="*/ 5841593 w 7961852"/>
              <a:gd name="connsiteY3" fmla="*/ 60567 h 4096639"/>
              <a:gd name="connsiteX4" fmla="*/ 6657972 w 7961852"/>
              <a:gd name="connsiteY4" fmla="*/ 54812 h 4096639"/>
              <a:gd name="connsiteX5" fmla="*/ 7210849 w 7961852"/>
              <a:gd name="connsiteY5" fmla="*/ 51188 h 4096639"/>
              <a:gd name="connsiteX6" fmla="*/ 7936750 w 7961852"/>
              <a:gd name="connsiteY6" fmla="*/ 701362 h 4096639"/>
              <a:gd name="connsiteX7" fmla="*/ 7360653 w 7961852"/>
              <a:gd name="connsiteY7" fmla="*/ 3424551 h 4096639"/>
              <a:gd name="connsiteX8" fmla="*/ 6657972 w 7961852"/>
              <a:gd name="connsiteY8" fmla="*/ 4096639 h 4096639"/>
              <a:gd name="connsiteX9" fmla="*/ 1291277 w 7961852"/>
              <a:gd name="connsiteY9" fmla="*/ 4089172 h 4096639"/>
              <a:gd name="connsiteX0" fmla="*/ 0 w 7980597"/>
              <a:gd name="connsiteY0" fmla="*/ 4089173 h 4096639"/>
              <a:gd name="connsiteX1" fmla="*/ 18745 w 7980597"/>
              <a:gd name="connsiteY1" fmla="*/ 0 h 4096639"/>
              <a:gd name="connsiteX2" fmla="*/ 2694030 w 7980597"/>
              <a:gd name="connsiteY2" fmla="*/ 60104 h 4096639"/>
              <a:gd name="connsiteX3" fmla="*/ 5860338 w 7980597"/>
              <a:gd name="connsiteY3" fmla="*/ 60567 h 4096639"/>
              <a:gd name="connsiteX4" fmla="*/ 6676717 w 7980597"/>
              <a:gd name="connsiteY4" fmla="*/ 54812 h 4096639"/>
              <a:gd name="connsiteX5" fmla="*/ 7229594 w 7980597"/>
              <a:gd name="connsiteY5" fmla="*/ 51188 h 4096639"/>
              <a:gd name="connsiteX6" fmla="*/ 7955495 w 7980597"/>
              <a:gd name="connsiteY6" fmla="*/ 701362 h 4096639"/>
              <a:gd name="connsiteX7" fmla="*/ 7379398 w 7980597"/>
              <a:gd name="connsiteY7" fmla="*/ 3424551 h 4096639"/>
              <a:gd name="connsiteX8" fmla="*/ 6676717 w 7980597"/>
              <a:gd name="connsiteY8" fmla="*/ 4096639 h 4096639"/>
              <a:gd name="connsiteX9" fmla="*/ 0 w 7980597"/>
              <a:gd name="connsiteY9" fmla="*/ 4089173 h 4096639"/>
              <a:gd name="connsiteX0" fmla="*/ 0 w 7980597"/>
              <a:gd name="connsiteY0" fmla="*/ 4049769 h 4057235"/>
              <a:gd name="connsiteX1" fmla="*/ 18745 w 7980597"/>
              <a:gd name="connsiteY1" fmla="*/ 0 h 4057235"/>
              <a:gd name="connsiteX2" fmla="*/ 2694030 w 7980597"/>
              <a:gd name="connsiteY2" fmla="*/ 20700 h 4057235"/>
              <a:gd name="connsiteX3" fmla="*/ 5860338 w 7980597"/>
              <a:gd name="connsiteY3" fmla="*/ 21163 h 4057235"/>
              <a:gd name="connsiteX4" fmla="*/ 6676717 w 7980597"/>
              <a:gd name="connsiteY4" fmla="*/ 15408 h 4057235"/>
              <a:gd name="connsiteX5" fmla="*/ 7229594 w 7980597"/>
              <a:gd name="connsiteY5" fmla="*/ 11784 h 4057235"/>
              <a:gd name="connsiteX6" fmla="*/ 7955495 w 7980597"/>
              <a:gd name="connsiteY6" fmla="*/ 661958 h 4057235"/>
              <a:gd name="connsiteX7" fmla="*/ 7379398 w 7980597"/>
              <a:gd name="connsiteY7" fmla="*/ 3385147 h 4057235"/>
              <a:gd name="connsiteX8" fmla="*/ 6676717 w 7980597"/>
              <a:gd name="connsiteY8" fmla="*/ 4057235 h 4057235"/>
              <a:gd name="connsiteX9" fmla="*/ 0 w 7980597"/>
              <a:gd name="connsiteY9" fmla="*/ 4049769 h 4057235"/>
              <a:gd name="connsiteX0" fmla="*/ 1992076 w 9972673"/>
              <a:gd name="connsiteY0" fmla="*/ 4049769 h 4057235"/>
              <a:gd name="connsiteX1" fmla="*/ 14 w 9972673"/>
              <a:gd name="connsiteY1" fmla="*/ 0 h 4057235"/>
              <a:gd name="connsiteX2" fmla="*/ 4686106 w 9972673"/>
              <a:gd name="connsiteY2" fmla="*/ 20700 h 4057235"/>
              <a:gd name="connsiteX3" fmla="*/ 7852414 w 9972673"/>
              <a:gd name="connsiteY3" fmla="*/ 21163 h 4057235"/>
              <a:gd name="connsiteX4" fmla="*/ 8668793 w 9972673"/>
              <a:gd name="connsiteY4" fmla="*/ 15408 h 4057235"/>
              <a:gd name="connsiteX5" fmla="*/ 9221670 w 9972673"/>
              <a:gd name="connsiteY5" fmla="*/ 11784 h 4057235"/>
              <a:gd name="connsiteX6" fmla="*/ 9947571 w 9972673"/>
              <a:gd name="connsiteY6" fmla="*/ 661958 h 4057235"/>
              <a:gd name="connsiteX7" fmla="*/ 9371474 w 9972673"/>
              <a:gd name="connsiteY7" fmla="*/ 3385147 h 4057235"/>
              <a:gd name="connsiteX8" fmla="*/ 8668793 w 9972673"/>
              <a:gd name="connsiteY8" fmla="*/ 4057235 h 4057235"/>
              <a:gd name="connsiteX9" fmla="*/ 1992076 w 9972673"/>
              <a:gd name="connsiteY9" fmla="*/ 4049769 h 4057235"/>
              <a:gd name="connsiteX0" fmla="*/ 0 w 9980652"/>
              <a:gd name="connsiteY0" fmla="*/ 4177946 h 4177946"/>
              <a:gd name="connsiteX1" fmla="*/ 7993 w 9980652"/>
              <a:gd name="connsiteY1" fmla="*/ 0 h 4177946"/>
              <a:gd name="connsiteX2" fmla="*/ 4694085 w 9980652"/>
              <a:gd name="connsiteY2" fmla="*/ 20700 h 4177946"/>
              <a:gd name="connsiteX3" fmla="*/ 7860393 w 9980652"/>
              <a:gd name="connsiteY3" fmla="*/ 21163 h 4177946"/>
              <a:gd name="connsiteX4" fmla="*/ 8676772 w 9980652"/>
              <a:gd name="connsiteY4" fmla="*/ 15408 h 4177946"/>
              <a:gd name="connsiteX5" fmla="*/ 9229649 w 9980652"/>
              <a:gd name="connsiteY5" fmla="*/ 11784 h 4177946"/>
              <a:gd name="connsiteX6" fmla="*/ 9955550 w 9980652"/>
              <a:gd name="connsiteY6" fmla="*/ 661958 h 4177946"/>
              <a:gd name="connsiteX7" fmla="*/ 9379453 w 9980652"/>
              <a:gd name="connsiteY7" fmla="*/ 3385147 h 4177946"/>
              <a:gd name="connsiteX8" fmla="*/ 8676772 w 9980652"/>
              <a:gd name="connsiteY8" fmla="*/ 4057235 h 4177946"/>
              <a:gd name="connsiteX9" fmla="*/ 0 w 9980652"/>
              <a:gd name="connsiteY9" fmla="*/ 4177946 h 4177946"/>
              <a:gd name="connsiteX0" fmla="*/ 0 w 9980652"/>
              <a:gd name="connsiteY0" fmla="*/ 4011316 h 4057235"/>
              <a:gd name="connsiteX1" fmla="*/ 7993 w 9980652"/>
              <a:gd name="connsiteY1" fmla="*/ 0 h 4057235"/>
              <a:gd name="connsiteX2" fmla="*/ 4694085 w 9980652"/>
              <a:gd name="connsiteY2" fmla="*/ 20700 h 4057235"/>
              <a:gd name="connsiteX3" fmla="*/ 7860393 w 9980652"/>
              <a:gd name="connsiteY3" fmla="*/ 21163 h 4057235"/>
              <a:gd name="connsiteX4" fmla="*/ 8676772 w 9980652"/>
              <a:gd name="connsiteY4" fmla="*/ 15408 h 4057235"/>
              <a:gd name="connsiteX5" fmla="*/ 9229649 w 9980652"/>
              <a:gd name="connsiteY5" fmla="*/ 11784 h 4057235"/>
              <a:gd name="connsiteX6" fmla="*/ 9955550 w 9980652"/>
              <a:gd name="connsiteY6" fmla="*/ 661958 h 4057235"/>
              <a:gd name="connsiteX7" fmla="*/ 9379453 w 9980652"/>
              <a:gd name="connsiteY7" fmla="*/ 3385147 h 4057235"/>
              <a:gd name="connsiteX8" fmla="*/ 8676772 w 9980652"/>
              <a:gd name="connsiteY8" fmla="*/ 4057235 h 4057235"/>
              <a:gd name="connsiteX9" fmla="*/ 0 w 9980652"/>
              <a:gd name="connsiteY9" fmla="*/ 4011316 h 4057235"/>
              <a:gd name="connsiteX0" fmla="*/ 4296 w 9974196"/>
              <a:gd name="connsiteY0" fmla="*/ 4062587 h 4062587"/>
              <a:gd name="connsiteX1" fmla="*/ 1537 w 9974196"/>
              <a:gd name="connsiteY1" fmla="*/ 0 h 4062587"/>
              <a:gd name="connsiteX2" fmla="*/ 4687629 w 9974196"/>
              <a:gd name="connsiteY2" fmla="*/ 20700 h 4062587"/>
              <a:gd name="connsiteX3" fmla="*/ 7853937 w 9974196"/>
              <a:gd name="connsiteY3" fmla="*/ 21163 h 4062587"/>
              <a:gd name="connsiteX4" fmla="*/ 8670316 w 9974196"/>
              <a:gd name="connsiteY4" fmla="*/ 15408 h 4062587"/>
              <a:gd name="connsiteX5" fmla="*/ 9223193 w 9974196"/>
              <a:gd name="connsiteY5" fmla="*/ 11784 h 4062587"/>
              <a:gd name="connsiteX6" fmla="*/ 9949094 w 9974196"/>
              <a:gd name="connsiteY6" fmla="*/ 661958 h 4062587"/>
              <a:gd name="connsiteX7" fmla="*/ 9372997 w 9974196"/>
              <a:gd name="connsiteY7" fmla="*/ 3385147 h 4062587"/>
              <a:gd name="connsiteX8" fmla="*/ 8670316 w 9974196"/>
              <a:gd name="connsiteY8" fmla="*/ 4057235 h 4062587"/>
              <a:gd name="connsiteX9" fmla="*/ 4296 w 9974196"/>
              <a:gd name="connsiteY9" fmla="*/ 4062587 h 4062587"/>
              <a:gd name="connsiteX0" fmla="*/ 0 w 12012966"/>
              <a:gd name="connsiteY0" fmla="*/ 4036951 h 4057235"/>
              <a:gd name="connsiteX1" fmla="*/ 2040307 w 12012966"/>
              <a:gd name="connsiteY1" fmla="*/ 0 h 4057235"/>
              <a:gd name="connsiteX2" fmla="*/ 6726399 w 12012966"/>
              <a:gd name="connsiteY2" fmla="*/ 20700 h 4057235"/>
              <a:gd name="connsiteX3" fmla="*/ 9892707 w 12012966"/>
              <a:gd name="connsiteY3" fmla="*/ 21163 h 4057235"/>
              <a:gd name="connsiteX4" fmla="*/ 10709086 w 12012966"/>
              <a:gd name="connsiteY4" fmla="*/ 15408 h 4057235"/>
              <a:gd name="connsiteX5" fmla="*/ 11261963 w 12012966"/>
              <a:gd name="connsiteY5" fmla="*/ 11784 h 4057235"/>
              <a:gd name="connsiteX6" fmla="*/ 11987864 w 12012966"/>
              <a:gd name="connsiteY6" fmla="*/ 661958 h 4057235"/>
              <a:gd name="connsiteX7" fmla="*/ 11411767 w 12012966"/>
              <a:gd name="connsiteY7" fmla="*/ 3385147 h 4057235"/>
              <a:gd name="connsiteX8" fmla="*/ 10709086 w 12012966"/>
              <a:gd name="connsiteY8" fmla="*/ 4057235 h 4057235"/>
              <a:gd name="connsiteX9" fmla="*/ 0 w 12012966"/>
              <a:gd name="connsiteY9" fmla="*/ 4036951 h 4057235"/>
              <a:gd name="connsiteX0" fmla="*/ 4296 w 12017262"/>
              <a:gd name="connsiteY0" fmla="*/ 4036951 h 4057235"/>
              <a:gd name="connsiteX1" fmla="*/ 1535 w 12017262"/>
              <a:gd name="connsiteY1" fmla="*/ 0 h 4057235"/>
              <a:gd name="connsiteX2" fmla="*/ 6730695 w 12017262"/>
              <a:gd name="connsiteY2" fmla="*/ 20700 h 4057235"/>
              <a:gd name="connsiteX3" fmla="*/ 9897003 w 12017262"/>
              <a:gd name="connsiteY3" fmla="*/ 21163 h 4057235"/>
              <a:gd name="connsiteX4" fmla="*/ 10713382 w 12017262"/>
              <a:gd name="connsiteY4" fmla="*/ 15408 h 4057235"/>
              <a:gd name="connsiteX5" fmla="*/ 11266259 w 12017262"/>
              <a:gd name="connsiteY5" fmla="*/ 11784 h 4057235"/>
              <a:gd name="connsiteX6" fmla="*/ 11992160 w 12017262"/>
              <a:gd name="connsiteY6" fmla="*/ 661958 h 4057235"/>
              <a:gd name="connsiteX7" fmla="*/ 11416063 w 12017262"/>
              <a:gd name="connsiteY7" fmla="*/ 3385147 h 4057235"/>
              <a:gd name="connsiteX8" fmla="*/ 10713382 w 12017262"/>
              <a:gd name="connsiteY8" fmla="*/ 4057235 h 4057235"/>
              <a:gd name="connsiteX9" fmla="*/ 4296 w 12017262"/>
              <a:gd name="connsiteY9" fmla="*/ 4036951 h 4057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17262" h="4057235">
                <a:moveTo>
                  <a:pt x="4296" y="4036951"/>
                </a:moveTo>
                <a:cubicBezTo>
                  <a:pt x="10544" y="2673893"/>
                  <a:pt x="-4713" y="1363058"/>
                  <a:pt x="1535" y="0"/>
                </a:cubicBezTo>
                <a:lnTo>
                  <a:pt x="6730695" y="20700"/>
                </a:lnTo>
                <a:lnTo>
                  <a:pt x="9897003" y="21163"/>
                </a:lnTo>
                <a:lnTo>
                  <a:pt x="10713382" y="15408"/>
                </a:lnTo>
                <a:cubicBezTo>
                  <a:pt x="11249366" y="4821"/>
                  <a:pt x="10697450" y="12992"/>
                  <a:pt x="11266259" y="11784"/>
                </a:cubicBezTo>
                <a:cubicBezTo>
                  <a:pt x="11957690" y="-32077"/>
                  <a:pt x="12080515" y="198204"/>
                  <a:pt x="11992160" y="661958"/>
                </a:cubicBezTo>
                <a:lnTo>
                  <a:pt x="11416063" y="3385147"/>
                </a:lnTo>
                <a:cubicBezTo>
                  <a:pt x="11365074" y="3780125"/>
                  <a:pt x="11084566" y="4057235"/>
                  <a:pt x="10713382" y="4057235"/>
                </a:cubicBezTo>
                <a:lnTo>
                  <a:pt x="4296" y="4036951"/>
                </a:lnTo>
                <a:close/>
              </a:path>
            </a:pathLst>
          </a:custGeom>
          <a:solidFill>
            <a:srgbClr val="DCDDE0"/>
          </a:solidFill>
          <a:ln>
            <a:solidFill>
              <a:srgbClr val="DCDDE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noProof="0" dirty="0"/>
          </a:p>
        </p:txBody>
      </p:sp>
      <p:sp>
        <p:nvSpPr>
          <p:cNvPr id="9" name="Freihandform 8"/>
          <p:cNvSpPr/>
          <p:nvPr/>
        </p:nvSpPr>
        <p:spPr>
          <a:xfrm>
            <a:off x="5246722" y="1062000"/>
            <a:ext cx="2679586" cy="1728640"/>
          </a:xfrm>
          <a:custGeom>
            <a:avLst/>
            <a:gdLst>
              <a:gd name="connsiteX0" fmla="*/ 4031269 w 4770670"/>
              <a:gd name="connsiteY0" fmla="*/ 255 h 3016203"/>
              <a:gd name="connsiteX1" fmla="*/ 4741112 w 4770670"/>
              <a:gd name="connsiteY1" fmla="*/ 635611 h 3016203"/>
              <a:gd name="connsiteX2" fmla="*/ 4133638 w 4770670"/>
              <a:gd name="connsiteY2" fmla="*/ 3000397 h 3016203"/>
              <a:gd name="connsiteX3" fmla="*/ 2464565 w 4770670"/>
              <a:gd name="connsiteY3" fmla="*/ 3001730 h 3016203"/>
              <a:gd name="connsiteX4" fmla="*/ 1515616 w 4770670"/>
              <a:gd name="connsiteY4" fmla="*/ 3007411 h 3016203"/>
              <a:gd name="connsiteX5" fmla="*/ 872958 w 4770670"/>
              <a:gd name="connsiteY5" fmla="*/ 3010988 h 3016203"/>
              <a:gd name="connsiteX6" fmla="*/ 29179 w 4770670"/>
              <a:gd name="connsiteY6" fmla="*/ 2369242 h 3016203"/>
              <a:gd name="connsiteX7" fmla="*/ 616911 w 4770670"/>
              <a:gd name="connsiteY7" fmla="*/ 10156 h 3016203"/>
              <a:gd name="connsiteX8" fmla="*/ 2274043 w 4770670"/>
              <a:gd name="connsiteY8" fmla="*/ 14219 h 3016203"/>
              <a:gd name="connsiteX9" fmla="*/ 3235338 w 4770670"/>
              <a:gd name="connsiteY9" fmla="*/ 8638 h 3016203"/>
              <a:gd name="connsiteX10" fmla="*/ 3886356 w 4770670"/>
              <a:gd name="connsiteY10" fmla="*/ 5124 h 3016203"/>
              <a:gd name="connsiteX11" fmla="*/ 4031269 w 4770670"/>
              <a:gd name="connsiteY11" fmla="*/ 255 h 301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0670" h="3016203">
                <a:moveTo>
                  <a:pt x="4031269" y="255"/>
                </a:moveTo>
                <a:cubicBezTo>
                  <a:pt x="4717631" y="-8611"/>
                  <a:pt x="4838649" y="214006"/>
                  <a:pt x="4741112" y="635611"/>
                </a:cubicBezTo>
                <a:lnTo>
                  <a:pt x="4133638" y="3000397"/>
                </a:lnTo>
                <a:lnTo>
                  <a:pt x="2464565" y="3001730"/>
                </a:lnTo>
                <a:lnTo>
                  <a:pt x="1515616" y="3007411"/>
                </a:lnTo>
                <a:cubicBezTo>
                  <a:pt x="892594" y="3017860"/>
                  <a:pt x="1534135" y="3009795"/>
                  <a:pt x="872958" y="3010988"/>
                </a:cubicBezTo>
                <a:cubicBezTo>
                  <a:pt x="69246" y="3054280"/>
                  <a:pt x="-73524" y="2826984"/>
                  <a:pt x="29179" y="2369242"/>
                </a:cubicBezTo>
                <a:lnTo>
                  <a:pt x="616911" y="10156"/>
                </a:lnTo>
                <a:lnTo>
                  <a:pt x="2274043" y="14219"/>
                </a:lnTo>
                <a:lnTo>
                  <a:pt x="3235338" y="8638"/>
                </a:lnTo>
                <a:cubicBezTo>
                  <a:pt x="3866465" y="-1628"/>
                  <a:pt x="3216578" y="6295"/>
                  <a:pt x="3886356" y="5124"/>
                </a:cubicBezTo>
                <a:cubicBezTo>
                  <a:pt x="3937242" y="2466"/>
                  <a:pt x="3985512" y="846"/>
                  <a:pt x="4031269" y="255"/>
                </a:cubicBezTo>
                <a:close/>
              </a:path>
            </a:pathLst>
          </a:custGeom>
          <a:solidFill>
            <a:srgbClr val="757984"/>
          </a:solidFill>
          <a:ln>
            <a:solidFill>
              <a:srgbClr val="757984"/>
            </a:solidFill>
          </a:ln>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defRPr/>
            </a:pPr>
            <a:endParaRPr lang="en-US" noProof="0" dirty="0"/>
          </a:p>
        </p:txBody>
      </p:sp>
      <p:sp>
        <p:nvSpPr>
          <p:cNvPr id="16" name="Textplatzhalter 5"/>
          <p:cNvSpPr>
            <a:spLocks noGrp="1"/>
          </p:cNvSpPr>
          <p:nvPr userDrawn="1">
            <p:ph type="body" sz="quarter" idx="14" hasCustomPrompt="1"/>
          </p:nvPr>
        </p:nvSpPr>
        <p:spPr>
          <a:xfrm>
            <a:off x="250825" y="3308400"/>
            <a:ext cx="6614795" cy="449263"/>
          </a:xfrm>
          <a:prstGeom prst="rect">
            <a:avLst/>
          </a:prstGeom>
        </p:spPr>
        <p:txBody>
          <a:bodyPr/>
          <a:lstStyle>
            <a:lvl1pPr marL="0" indent="0">
              <a:buNone/>
              <a:defRPr sz="1800" baseline="0"/>
            </a:lvl1pPr>
          </a:lstStyle>
          <a:p>
            <a:pPr lvl="0"/>
            <a:r>
              <a:rPr lang="en-US" noProof="0" dirty="0"/>
              <a:t>Click to add subtitle</a:t>
            </a:r>
          </a:p>
        </p:txBody>
      </p:sp>
      <p:sp>
        <p:nvSpPr>
          <p:cNvPr id="26" name="PROFIdrive"/>
          <p:cNvSpPr>
            <a:spLocks noGrp="1"/>
          </p:cNvSpPr>
          <p:nvPr>
            <p:ph type="body" sz="quarter" idx="22"/>
          </p:nvPr>
        </p:nvSpPr>
        <p:spPr>
          <a:xfrm>
            <a:off x="4402800" y="4298400"/>
            <a:ext cx="504000" cy="432000"/>
          </a:xfrm>
          <a:prstGeom prst="rect">
            <a:avLst/>
          </a:prstGeom>
          <a:blipFill>
            <a:blip r:embed="rId2" cstate="print"/>
            <a:stretch>
              <a:fillRect/>
            </a:stretch>
          </a:blipFill>
        </p:spPr>
        <p:txBody>
          <a:bodyPr/>
          <a:lstStyle>
            <a:lvl1pPr marL="0" indent="0">
              <a:buNone/>
              <a:defRPr sz="100">
                <a:solidFill>
                  <a:srgbClr val="CFD1D8"/>
                </a:solidFill>
              </a:defRPr>
            </a:lvl1pPr>
          </a:lstStyle>
          <a:p>
            <a:pPr lvl="0"/>
            <a:endParaRPr lang="de-DE" dirty="0"/>
          </a:p>
        </p:txBody>
      </p:sp>
      <p:sp>
        <p:nvSpPr>
          <p:cNvPr id="25" name="PROFIenergy"/>
          <p:cNvSpPr>
            <a:spLocks noGrp="1"/>
          </p:cNvSpPr>
          <p:nvPr>
            <p:ph type="body" sz="quarter" idx="21"/>
          </p:nvPr>
        </p:nvSpPr>
        <p:spPr>
          <a:xfrm>
            <a:off x="3690000" y="4298400"/>
            <a:ext cx="504000" cy="432000"/>
          </a:xfrm>
          <a:prstGeom prst="rect">
            <a:avLst/>
          </a:prstGeom>
          <a:blipFill>
            <a:blip r:embed="rId3" cstate="print"/>
            <a:stretch>
              <a:fillRect/>
            </a:stretch>
          </a:blipFill>
        </p:spPr>
        <p:txBody>
          <a:bodyPr/>
          <a:lstStyle>
            <a:lvl1pPr marL="0" indent="0">
              <a:buNone/>
              <a:defRPr sz="100">
                <a:solidFill>
                  <a:srgbClr val="CFD1D8"/>
                </a:solidFill>
              </a:defRPr>
            </a:lvl1pPr>
          </a:lstStyle>
          <a:p>
            <a:pPr lvl="0"/>
            <a:endParaRPr lang="de-DE" dirty="0"/>
          </a:p>
        </p:txBody>
      </p:sp>
      <p:sp>
        <p:nvSpPr>
          <p:cNvPr id="18" name="PROFIsafe"/>
          <p:cNvSpPr>
            <a:spLocks noGrp="1"/>
          </p:cNvSpPr>
          <p:nvPr>
            <p:ph type="body" sz="quarter" idx="17"/>
          </p:nvPr>
        </p:nvSpPr>
        <p:spPr>
          <a:xfrm>
            <a:off x="2973600" y="4298400"/>
            <a:ext cx="504000" cy="432000"/>
          </a:xfrm>
          <a:prstGeom prst="rect">
            <a:avLst/>
          </a:prstGeom>
          <a:blipFill>
            <a:blip r:embed="rId4" cstate="print"/>
            <a:stretch>
              <a:fillRect/>
            </a:stretch>
          </a:blipFill>
        </p:spPr>
        <p:txBody>
          <a:bodyPr/>
          <a:lstStyle>
            <a:lvl1pPr marL="0" indent="0">
              <a:buNone/>
              <a:defRPr sz="100">
                <a:solidFill>
                  <a:srgbClr val="CFD1D8"/>
                </a:solidFill>
              </a:defRPr>
            </a:lvl1pPr>
          </a:lstStyle>
          <a:p>
            <a:pPr lvl="0"/>
            <a:endParaRPr lang="de-DE" dirty="0"/>
          </a:p>
        </p:txBody>
      </p:sp>
      <p:sp>
        <p:nvSpPr>
          <p:cNvPr id="17" name="PROFIBUS"/>
          <p:cNvSpPr>
            <a:spLocks noGrp="1"/>
          </p:cNvSpPr>
          <p:nvPr>
            <p:ph type="body" sz="quarter" idx="16"/>
          </p:nvPr>
        </p:nvSpPr>
        <p:spPr>
          <a:xfrm>
            <a:off x="1616400" y="4208400"/>
            <a:ext cx="1249200" cy="522000"/>
          </a:xfrm>
          <a:prstGeom prst="rect">
            <a:avLst/>
          </a:prstGeom>
          <a:blipFill>
            <a:blip r:embed="rId5" cstate="print"/>
            <a:stretch>
              <a:fillRect/>
            </a:stretch>
          </a:blipFill>
        </p:spPr>
        <p:txBody>
          <a:bodyPr/>
          <a:lstStyle>
            <a:lvl1pPr marL="0" indent="0">
              <a:buNone/>
              <a:defRPr sz="100">
                <a:solidFill>
                  <a:schemeClr val="bg1"/>
                </a:solidFill>
              </a:defRPr>
            </a:lvl1pPr>
          </a:lstStyle>
          <a:p>
            <a:pPr lvl="0"/>
            <a:endParaRPr lang="de-DE" dirty="0"/>
          </a:p>
        </p:txBody>
      </p:sp>
      <p:sp>
        <p:nvSpPr>
          <p:cNvPr id="6" name="PROFINET"/>
          <p:cNvSpPr>
            <a:spLocks noGrp="1"/>
          </p:cNvSpPr>
          <p:nvPr>
            <p:ph type="body" sz="quarter" idx="15"/>
          </p:nvPr>
        </p:nvSpPr>
        <p:spPr>
          <a:xfrm>
            <a:off x="252000" y="4208400"/>
            <a:ext cx="1260000" cy="522000"/>
          </a:xfrm>
          <a:prstGeom prst="rect">
            <a:avLst/>
          </a:prstGeom>
          <a:blipFill>
            <a:blip r:embed="rId6" cstate="print"/>
            <a:stretch>
              <a:fillRect/>
            </a:stretch>
          </a:blipFill>
        </p:spPr>
        <p:txBody>
          <a:bodyPr/>
          <a:lstStyle>
            <a:lvl1pPr marL="0" indent="0">
              <a:buNone/>
              <a:defRPr sz="100">
                <a:solidFill>
                  <a:schemeClr val="bg1"/>
                </a:solidFill>
              </a:defRPr>
            </a:lvl1pPr>
          </a:lstStyle>
          <a:p>
            <a:pPr lvl="0"/>
            <a:endParaRPr lang="de-DE" dirty="0"/>
          </a:p>
        </p:txBody>
      </p:sp>
      <p:sp>
        <p:nvSpPr>
          <p:cNvPr id="2" name="Titel 1"/>
          <p:cNvSpPr>
            <a:spLocks noGrp="1"/>
          </p:cNvSpPr>
          <p:nvPr>
            <p:ph type="title" hasCustomPrompt="1"/>
          </p:nvPr>
        </p:nvSpPr>
        <p:spPr>
          <a:xfrm>
            <a:off x="250825" y="1280215"/>
            <a:ext cx="4991577" cy="1807288"/>
          </a:xfrm>
        </p:spPr>
        <p:txBody>
          <a:bodyPr/>
          <a:lstStyle>
            <a:lvl1pPr>
              <a:defRPr/>
            </a:lvl1pPr>
          </a:lstStyle>
          <a:p>
            <a:r>
              <a:rPr lang="en-US" noProof="0" dirty="0"/>
              <a:t>Click to add title</a:t>
            </a:r>
          </a:p>
        </p:txBody>
      </p:sp>
      <p:pic>
        <p:nvPicPr>
          <p:cNvPr id="4" name="Grafik 3"/>
          <p:cNvPicPr>
            <a:picLocks noChangeAspect="1"/>
          </p:cNvPicPr>
          <p:nvPr userDrawn="1"/>
        </p:nvPicPr>
        <p:blipFill rotWithShape="1">
          <a:blip r:embed="rId7" cstate="print">
            <a:extLst>
              <a:ext uri="{28A0092B-C50C-407E-A947-70E740481C1C}">
                <a14:useLocalDpi xmlns:a14="http://schemas.microsoft.com/office/drawing/2010/main" val="0"/>
              </a:ext>
            </a:extLst>
          </a:blip>
          <a:srcRect t="39810" r="57482" b="19590"/>
          <a:stretch/>
        </p:blipFill>
        <p:spPr>
          <a:xfrm>
            <a:off x="6758515" y="2715491"/>
            <a:ext cx="2385485" cy="2088284"/>
          </a:xfrm>
          <a:prstGeom prst="rect">
            <a:avLst/>
          </a:prstGeom>
        </p:spPr>
      </p:pic>
      <p:pic>
        <p:nvPicPr>
          <p:cNvPr id="15" name="Grafik 1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52000" y="147600"/>
            <a:ext cx="1383907" cy="522000"/>
          </a:xfrm>
          <a:prstGeom prst="rect">
            <a:avLst/>
          </a:prstGeom>
        </p:spPr>
      </p:pic>
      <p:sp>
        <p:nvSpPr>
          <p:cNvPr id="19" name="IO-Link"/>
          <p:cNvSpPr>
            <a:spLocks noGrp="1"/>
          </p:cNvSpPr>
          <p:nvPr>
            <p:ph type="body" sz="quarter" idx="20"/>
          </p:nvPr>
        </p:nvSpPr>
        <p:spPr>
          <a:xfrm>
            <a:off x="5107886" y="4445051"/>
            <a:ext cx="1478629" cy="285349"/>
          </a:xfrm>
          <a:prstGeom prst="rect">
            <a:avLst/>
          </a:prstGeom>
          <a:blipFill>
            <a:blip r:embed="rId9" cstate="print"/>
            <a:stretch>
              <a:fillRect/>
            </a:stretch>
          </a:blipFill>
        </p:spPr>
        <p:txBody>
          <a:bodyPr/>
          <a:lstStyle>
            <a:lvl1pPr marL="0" indent="0">
              <a:buNone/>
              <a:defRPr sz="100">
                <a:solidFill>
                  <a:schemeClr val="bg1"/>
                </a:solidFill>
              </a:defRPr>
            </a:lvl1pPr>
          </a:lstStyle>
          <a:p>
            <a:pPr lvl="0"/>
            <a:endParaRPr lang="de-DE" dirty="0"/>
          </a:p>
        </p:txBody>
      </p:sp>
      <p:sp>
        <p:nvSpPr>
          <p:cNvPr id="20" name="FDI"/>
          <p:cNvSpPr>
            <a:spLocks noGrp="1"/>
          </p:cNvSpPr>
          <p:nvPr>
            <p:ph type="body" sz="quarter" idx="25"/>
          </p:nvPr>
        </p:nvSpPr>
        <p:spPr>
          <a:xfrm>
            <a:off x="6758515" y="4399731"/>
            <a:ext cx="635901" cy="330669"/>
          </a:xfrm>
          <a:prstGeom prst="rect">
            <a:avLst/>
          </a:prstGeom>
          <a:blipFill>
            <a:blip r:embed="rId10" cstate="print"/>
            <a:stretch>
              <a:fillRect/>
            </a:stretch>
          </a:blipFill>
        </p:spPr>
        <p:txBody>
          <a:bodyPr/>
          <a:lstStyle>
            <a:lvl1pPr marL="0" indent="0">
              <a:buNone/>
              <a:defRPr sz="100">
                <a:solidFill>
                  <a:schemeClr val="bg1"/>
                </a:solidFill>
              </a:defRPr>
            </a:lvl1pPr>
          </a:lstStyle>
          <a:p>
            <a:pPr lvl="0"/>
            <a:endParaRPr lang="de-DE" dirty="0"/>
          </a:p>
        </p:txBody>
      </p:sp>
    </p:spTree>
    <p:extLst>
      <p:ext uri="{BB962C8B-B14F-4D97-AF65-F5344CB8AC3E}">
        <p14:creationId xmlns:p14="http://schemas.microsoft.com/office/powerpoint/2010/main" val="1261363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Picture Long">
    <p:spTree>
      <p:nvGrpSpPr>
        <p:cNvPr id="1" name=""/>
        <p:cNvGrpSpPr/>
        <p:nvPr/>
      </p:nvGrpSpPr>
      <p:grpSpPr>
        <a:xfrm>
          <a:off x="0" y="0"/>
          <a:ext cx="0" cy="0"/>
          <a:chOff x="0" y="0"/>
          <a:chExt cx="0" cy="0"/>
        </a:xfrm>
      </p:grpSpPr>
      <p:sp>
        <p:nvSpPr>
          <p:cNvPr id="21" name="Bildplatzhalter 20"/>
          <p:cNvSpPr>
            <a:spLocks noGrp="1" noChangeAspect="1"/>
          </p:cNvSpPr>
          <p:nvPr>
            <p:ph type="pic" sz="quarter" idx="16" hasCustomPrompt="1"/>
          </p:nvPr>
        </p:nvSpPr>
        <p:spPr>
          <a:xfrm>
            <a:off x="251407" y="915989"/>
            <a:ext cx="8641537" cy="2642552"/>
          </a:xfrm>
          <a:prstGeom prst="rect">
            <a:avLst/>
          </a:prstGeom>
        </p:spPr>
        <p:txBody>
          <a:bodyPr wrap="square">
            <a:noAutofit/>
          </a:bodyPr>
          <a:lstStyle>
            <a:lvl1pPr marL="0" indent="0" algn="ctr">
              <a:buNone/>
              <a:defRPr baseline="0"/>
            </a:lvl1pPr>
          </a:lstStyle>
          <a:p>
            <a:r>
              <a:rPr lang="en-US" noProof="0" dirty="0"/>
              <a:t>		</a:t>
            </a:r>
          </a:p>
          <a:p>
            <a:r>
              <a:rPr lang="en-US" noProof="0" dirty="0"/>
              <a:t>			</a:t>
            </a:r>
          </a:p>
          <a:p>
            <a:r>
              <a:rPr lang="en-US" noProof="0" dirty="0"/>
              <a:t>Click to add picture</a:t>
            </a:r>
          </a:p>
        </p:txBody>
      </p:sp>
      <p:sp>
        <p:nvSpPr>
          <p:cNvPr id="2" name="Fußzeilenplatzhalter 1"/>
          <p:cNvSpPr>
            <a:spLocks noGrp="1"/>
          </p:cNvSpPr>
          <p:nvPr>
            <p:ph type="ftr" sz="quarter" idx="19"/>
          </p:nvPr>
        </p:nvSpPr>
        <p:spPr/>
        <p:txBody>
          <a:bodyPr/>
          <a:lstStyle/>
          <a:p>
            <a:r>
              <a:rPr lang="en-US" noProof="0" dirty="0"/>
              <a:t>Editable name of event</a:t>
            </a:r>
          </a:p>
        </p:txBody>
      </p:sp>
      <p:sp>
        <p:nvSpPr>
          <p:cNvPr id="7" name="Foliennummernplatzhalter 1"/>
          <p:cNvSpPr>
            <a:spLocks noGrp="1"/>
          </p:cNvSpPr>
          <p:nvPr>
            <p:ph type="sldNum" sz="quarter" idx="4"/>
          </p:nvPr>
        </p:nvSpPr>
        <p:spPr>
          <a:xfrm>
            <a:off x="8408119" y="4818324"/>
            <a:ext cx="536121" cy="264684"/>
          </a:xfrm>
          <a:prstGeom prst="rect">
            <a:avLst/>
          </a:prstGeom>
        </p:spPr>
        <p:txBody>
          <a:bodyPr vert="horz" lIns="91440" tIns="45720" rIns="91440" bIns="45720" rtlCol="0" anchor="ctr"/>
          <a:lstStyle>
            <a:lvl1pPr algn="r">
              <a:defRPr sz="1200">
                <a:solidFill>
                  <a:schemeClr val="bg1"/>
                </a:solidFill>
              </a:defRPr>
            </a:lvl1pPr>
          </a:lstStyle>
          <a:p>
            <a:fld id="{F0B876DB-ED65-473E-9C95-7A5D374C8C64}" type="slidenum">
              <a:rPr lang="en-US" noProof="0" smtClean="0"/>
              <a:pPr/>
              <a:t>‹#›</a:t>
            </a:fld>
            <a:endParaRPr lang="en-US" noProof="0" dirty="0"/>
          </a:p>
        </p:txBody>
      </p:sp>
      <p:sp>
        <p:nvSpPr>
          <p:cNvPr id="4" name="Titel 3"/>
          <p:cNvSpPr>
            <a:spLocks noGrp="1"/>
          </p:cNvSpPr>
          <p:nvPr>
            <p:ph type="title" hasCustomPrompt="1"/>
          </p:nvPr>
        </p:nvSpPr>
        <p:spPr/>
        <p:txBody>
          <a:bodyPr/>
          <a:lstStyle>
            <a:lvl1pPr>
              <a:defRPr/>
            </a:lvl1pPr>
          </a:lstStyle>
          <a:p>
            <a:r>
              <a:rPr lang="en-US" noProof="0" dirty="0"/>
              <a:t>Click to add title</a:t>
            </a:r>
          </a:p>
        </p:txBody>
      </p:sp>
      <p:sp>
        <p:nvSpPr>
          <p:cNvPr id="5" name="Textplatzhalter 4"/>
          <p:cNvSpPr>
            <a:spLocks noGrp="1"/>
          </p:cNvSpPr>
          <p:nvPr>
            <p:ph type="body" sz="quarter" idx="20" hasCustomPrompt="1"/>
          </p:nvPr>
        </p:nvSpPr>
        <p:spPr>
          <a:xfrm>
            <a:off x="252000" y="3618000"/>
            <a:ext cx="8640000" cy="1112400"/>
          </a:xfrm>
        </p:spPr>
        <p:txBody>
          <a:bodyPr/>
          <a:lstStyle>
            <a:lvl1pPr>
              <a:defRPr/>
            </a:lvl1pPr>
            <a:lvl2pPr>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p:txBody>
      </p:sp>
      <p:sp>
        <p:nvSpPr>
          <p:cNvPr id="3" name="Datumsplatzhalter 2"/>
          <p:cNvSpPr>
            <a:spLocks noGrp="1"/>
          </p:cNvSpPr>
          <p:nvPr>
            <p:ph type="dt" sz="half" idx="21"/>
          </p:nvPr>
        </p:nvSpPr>
        <p:spPr/>
        <p:txBody>
          <a:bodyPr/>
          <a:lstStyle/>
          <a:p>
            <a:r>
              <a:rPr lang="de-DE" noProof="0" dirty="0"/>
              <a:t>© 2017</a:t>
            </a:r>
            <a:endParaRPr lang="en-US" noProof="0" dirty="0"/>
          </a:p>
        </p:txBody>
      </p:sp>
    </p:spTree>
    <p:extLst>
      <p:ext uri="{BB962C8B-B14F-4D97-AF65-F5344CB8AC3E}">
        <p14:creationId xmlns:p14="http://schemas.microsoft.com/office/powerpoint/2010/main" val="883647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Picture Long+ Highlight">
    <p:spTree>
      <p:nvGrpSpPr>
        <p:cNvPr id="1" name=""/>
        <p:cNvGrpSpPr/>
        <p:nvPr/>
      </p:nvGrpSpPr>
      <p:grpSpPr>
        <a:xfrm>
          <a:off x="0" y="0"/>
          <a:ext cx="0" cy="0"/>
          <a:chOff x="0" y="0"/>
          <a:chExt cx="0" cy="0"/>
        </a:xfrm>
      </p:grpSpPr>
      <p:sp>
        <p:nvSpPr>
          <p:cNvPr id="21" name="Bildplatzhalter 20"/>
          <p:cNvSpPr>
            <a:spLocks noGrp="1" noChangeAspect="1"/>
          </p:cNvSpPr>
          <p:nvPr>
            <p:ph type="pic" sz="quarter" idx="16" hasCustomPrompt="1"/>
          </p:nvPr>
        </p:nvSpPr>
        <p:spPr>
          <a:xfrm>
            <a:off x="251523" y="915989"/>
            <a:ext cx="8641537" cy="1908174"/>
          </a:xfrm>
          <a:prstGeom prst="rect">
            <a:avLst/>
          </a:prstGeom>
        </p:spPr>
        <p:txBody>
          <a:bodyPr wrap="square">
            <a:noAutofit/>
          </a:bodyPr>
          <a:lstStyle>
            <a:lvl1pPr marL="0" indent="0" algn="ctr">
              <a:buNone/>
              <a:defRPr baseline="0"/>
            </a:lvl1pPr>
          </a:lstStyle>
          <a:p>
            <a:r>
              <a:rPr lang="en-US" noProof="0" dirty="0"/>
              <a:t>		</a:t>
            </a:r>
          </a:p>
          <a:p>
            <a:r>
              <a:rPr lang="en-US" noProof="0" dirty="0"/>
              <a:t>			</a:t>
            </a:r>
          </a:p>
          <a:p>
            <a:r>
              <a:rPr lang="en-US" noProof="0" dirty="0"/>
              <a:t>Click to add picture</a:t>
            </a:r>
          </a:p>
        </p:txBody>
      </p:sp>
      <p:sp>
        <p:nvSpPr>
          <p:cNvPr id="2" name="Fußzeilenplatzhalter 1"/>
          <p:cNvSpPr>
            <a:spLocks noGrp="1"/>
          </p:cNvSpPr>
          <p:nvPr>
            <p:ph type="ftr" sz="quarter" idx="19"/>
          </p:nvPr>
        </p:nvSpPr>
        <p:spPr/>
        <p:txBody>
          <a:bodyPr/>
          <a:lstStyle/>
          <a:p>
            <a:r>
              <a:rPr lang="en-US" noProof="0" dirty="0"/>
              <a:t>Editable name of event</a:t>
            </a:r>
          </a:p>
        </p:txBody>
      </p:sp>
      <p:sp>
        <p:nvSpPr>
          <p:cNvPr id="7" name="Foliennummernplatzhalter 1"/>
          <p:cNvSpPr>
            <a:spLocks noGrp="1"/>
          </p:cNvSpPr>
          <p:nvPr>
            <p:ph type="sldNum" sz="quarter" idx="4"/>
          </p:nvPr>
        </p:nvSpPr>
        <p:spPr>
          <a:xfrm>
            <a:off x="8408119" y="4818324"/>
            <a:ext cx="536121" cy="264684"/>
          </a:xfrm>
          <a:prstGeom prst="rect">
            <a:avLst/>
          </a:prstGeom>
        </p:spPr>
        <p:txBody>
          <a:bodyPr vert="horz" lIns="91440" tIns="45720" rIns="91440" bIns="45720" rtlCol="0" anchor="ctr"/>
          <a:lstStyle>
            <a:lvl1pPr algn="r">
              <a:defRPr sz="1200">
                <a:solidFill>
                  <a:schemeClr val="bg1"/>
                </a:solidFill>
              </a:defRPr>
            </a:lvl1pPr>
          </a:lstStyle>
          <a:p>
            <a:fld id="{F0B876DB-ED65-473E-9C95-7A5D374C8C64}" type="slidenum">
              <a:rPr lang="en-US" noProof="0" smtClean="0"/>
              <a:pPr/>
              <a:t>‹#›</a:t>
            </a:fld>
            <a:endParaRPr lang="en-US" noProof="0" dirty="0"/>
          </a:p>
        </p:txBody>
      </p:sp>
      <p:sp>
        <p:nvSpPr>
          <p:cNvPr id="4" name="Titel 3"/>
          <p:cNvSpPr>
            <a:spLocks noGrp="1"/>
          </p:cNvSpPr>
          <p:nvPr>
            <p:ph type="title" hasCustomPrompt="1"/>
          </p:nvPr>
        </p:nvSpPr>
        <p:spPr/>
        <p:txBody>
          <a:bodyPr/>
          <a:lstStyle>
            <a:lvl1pPr>
              <a:defRPr/>
            </a:lvl1pPr>
          </a:lstStyle>
          <a:p>
            <a:r>
              <a:rPr lang="en-US" noProof="0" dirty="0"/>
              <a:t>Click to add title</a:t>
            </a:r>
          </a:p>
        </p:txBody>
      </p:sp>
      <p:sp>
        <p:nvSpPr>
          <p:cNvPr id="5" name="Textplatzhalter 4"/>
          <p:cNvSpPr>
            <a:spLocks noGrp="1"/>
          </p:cNvSpPr>
          <p:nvPr>
            <p:ph type="body" sz="quarter" idx="20" hasCustomPrompt="1"/>
          </p:nvPr>
        </p:nvSpPr>
        <p:spPr>
          <a:xfrm>
            <a:off x="252291" y="2892760"/>
            <a:ext cx="8640000" cy="1063071"/>
          </a:xfrm>
        </p:spPr>
        <p:txBody>
          <a:bodyPr/>
          <a:lstStyle>
            <a:lvl1pPr>
              <a:defRPr/>
            </a:lvl1pPr>
            <a:lvl2pPr>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p:txBody>
      </p:sp>
      <p:sp>
        <p:nvSpPr>
          <p:cNvPr id="8" name="Textplatzhalter 3"/>
          <p:cNvSpPr>
            <a:spLocks noGrp="1"/>
          </p:cNvSpPr>
          <p:nvPr>
            <p:ph type="body" sz="quarter" idx="21" hasCustomPrompt="1"/>
          </p:nvPr>
        </p:nvSpPr>
        <p:spPr>
          <a:xfrm>
            <a:off x="990332" y="4024428"/>
            <a:ext cx="7163919" cy="707909"/>
          </a:xfrm>
          <a:prstGeom prst="rect">
            <a:avLst/>
          </a:prstGeom>
          <a:solidFill>
            <a:schemeClr val="accent1"/>
          </a:solidFill>
        </p:spPr>
        <p:txBody>
          <a:bodyPr anchor="ctr">
            <a:normAutofit/>
          </a:bodyPr>
          <a:lstStyle>
            <a:lvl1pPr marL="285750" indent="-285750" algn="l">
              <a:lnSpc>
                <a:spcPct val="100000"/>
              </a:lnSpc>
              <a:spcBef>
                <a:spcPts val="0"/>
              </a:spcBef>
              <a:spcAft>
                <a:spcPts val="600"/>
              </a:spcAft>
              <a:buFontTx/>
              <a:buBlip>
                <a:blip r:embed="rId2"/>
              </a:buBlip>
              <a:defRPr sz="1800">
                <a:solidFill>
                  <a:schemeClr val="bg1"/>
                </a:solidFill>
              </a:defRPr>
            </a:lvl1pPr>
          </a:lstStyle>
          <a:p>
            <a:pPr lvl="0"/>
            <a:r>
              <a:rPr lang="en-US" noProof="0" dirty="0"/>
              <a:t>Click to add text</a:t>
            </a:r>
          </a:p>
        </p:txBody>
      </p:sp>
      <p:sp>
        <p:nvSpPr>
          <p:cNvPr id="3" name="Datumsplatzhalter 2"/>
          <p:cNvSpPr>
            <a:spLocks noGrp="1"/>
          </p:cNvSpPr>
          <p:nvPr>
            <p:ph type="dt" sz="half" idx="22"/>
          </p:nvPr>
        </p:nvSpPr>
        <p:spPr/>
        <p:txBody>
          <a:bodyPr/>
          <a:lstStyle/>
          <a:p>
            <a:r>
              <a:rPr lang="de-DE" noProof="0" dirty="0"/>
              <a:t>© 2017</a:t>
            </a:r>
            <a:endParaRPr lang="en-US" noProof="0" dirty="0"/>
          </a:p>
        </p:txBody>
      </p:sp>
    </p:spTree>
    <p:extLst>
      <p:ext uri="{BB962C8B-B14F-4D97-AF65-F5344CB8AC3E}">
        <p14:creationId xmlns:p14="http://schemas.microsoft.com/office/powerpoint/2010/main" val="3822017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Lessons Learned Arrow">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en-US" noProof="0" dirty="0"/>
              <a:t>Editable name of event</a:t>
            </a:r>
          </a:p>
        </p:txBody>
      </p:sp>
      <p:sp>
        <p:nvSpPr>
          <p:cNvPr id="5" name="Titel 4"/>
          <p:cNvSpPr>
            <a:spLocks noGrp="1"/>
          </p:cNvSpPr>
          <p:nvPr>
            <p:ph type="title" hasCustomPrompt="1"/>
          </p:nvPr>
        </p:nvSpPr>
        <p:spPr/>
        <p:txBody>
          <a:bodyPr/>
          <a:lstStyle>
            <a:lvl1pPr>
              <a:defRPr/>
            </a:lvl1pPr>
          </a:lstStyle>
          <a:p>
            <a:r>
              <a:rPr lang="en-US" noProof="0" dirty="0"/>
              <a:t>Click to add title</a:t>
            </a:r>
          </a:p>
        </p:txBody>
      </p:sp>
      <p:sp>
        <p:nvSpPr>
          <p:cNvPr id="6" name="Textplatzhalter 3"/>
          <p:cNvSpPr>
            <a:spLocks noGrp="1"/>
          </p:cNvSpPr>
          <p:nvPr>
            <p:ph type="body" sz="quarter" idx="20" hasCustomPrompt="1"/>
          </p:nvPr>
        </p:nvSpPr>
        <p:spPr>
          <a:xfrm>
            <a:off x="1275406" y="3779520"/>
            <a:ext cx="3117207" cy="838200"/>
          </a:xfrm>
          <a:prstGeom prst="homePlate">
            <a:avLst/>
          </a:prstGeom>
          <a:solidFill>
            <a:schemeClr val="accent1"/>
          </a:solidFill>
        </p:spPr>
        <p:txBody>
          <a:bodyPr anchor="ctr">
            <a:normAutofit/>
          </a:bodyPr>
          <a:lstStyle>
            <a:lvl1pPr marL="0" indent="0" algn="l">
              <a:lnSpc>
                <a:spcPct val="100000"/>
              </a:lnSpc>
              <a:spcBef>
                <a:spcPts val="0"/>
              </a:spcBef>
              <a:spcAft>
                <a:spcPts val="600"/>
              </a:spcAft>
              <a:buNone/>
              <a:defRPr sz="1800">
                <a:solidFill>
                  <a:schemeClr val="bg1"/>
                </a:solidFill>
              </a:defRPr>
            </a:lvl1pPr>
          </a:lstStyle>
          <a:p>
            <a:pPr lvl="0"/>
            <a:r>
              <a:rPr lang="en-US" noProof="0" dirty="0"/>
              <a:t>Lessons learned:</a:t>
            </a:r>
          </a:p>
        </p:txBody>
      </p:sp>
      <p:sp>
        <p:nvSpPr>
          <p:cNvPr id="7" name="Textplatzhalter 3"/>
          <p:cNvSpPr>
            <a:spLocks noGrp="1"/>
          </p:cNvSpPr>
          <p:nvPr>
            <p:ph type="body" sz="quarter" idx="21" hasCustomPrompt="1"/>
          </p:nvPr>
        </p:nvSpPr>
        <p:spPr>
          <a:xfrm>
            <a:off x="4751388" y="3779520"/>
            <a:ext cx="3117207" cy="838200"/>
          </a:xfrm>
          <a:prstGeom prst="rect">
            <a:avLst/>
          </a:prstGeom>
          <a:solidFill>
            <a:schemeClr val="accent1"/>
          </a:solidFill>
        </p:spPr>
        <p:txBody>
          <a:bodyPr anchor="ctr">
            <a:normAutofit/>
          </a:bodyPr>
          <a:lstStyle>
            <a:lvl1pPr marL="285750" indent="-285750" algn="l">
              <a:lnSpc>
                <a:spcPct val="100000"/>
              </a:lnSpc>
              <a:spcBef>
                <a:spcPts val="0"/>
              </a:spcBef>
              <a:spcAft>
                <a:spcPts val="600"/>
              </a:spcAft>
              <a:buFontTx/>
              <a:buBlip>
                <a:blip r:embed="rId2"/>
              </a:buBlip>
              <a:defRPr sz="1800" baseline="0">
                <a:solidFill>
                  <a:schemeClr val="bg1"/>
                </a:solidFill>
              </a:defRPr>
            </a:lvl1pPr>
          </a:lstStyle>
          <a:p>
            <a:pPr lvl="0"/>
            <a:r>
              <a:rPr lang="en-US" noProof="0" dirty="0"/>
              <a:t>Click to add text</a:t>
            </a:r>
          </a:p>
        </p:txBody>
      </p:sp>
      <p:sp>
        <p:nvSpPr>
          <p:cNvPr id="8" name="Textplatzhalter 7"/>
          <p:cNvSpPr>
            <a:spLocks noGrp="1"/>
          </p:cNvSpPr>
          <p:nvPr>
            <p:ph type="body" sz="quarter" idx="22" hasCustomPrompt="1"/>
          </p:nvPr>
        </p:nvSpPr>
        <p:spPr>
          <a:xfrm>
            <a:off x="252000" y="914400"/>
            <a:ext cx="8640000" cy="2606400"/>
          </a:xfrm>
        </p:spPr>
        <p:txBody>
          <a:bodyPr/>
          <a:lstStyle>
            <a:lvl1pPr>
              <a:defRPr/>
            </a:lvl1pPr>
            <a:lvl2pPr>
              <a:defRPr/>
            </a:lvl2pPr>
            <a:lvl3pPr>
              <a:defRPr/>
            </a:lvl3pPr>
            <a:lvl4pPr>
              <a:defRPr/>
            </a:lvl4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23"/>
          </p:nvPr>
        </p:nvSpPr>
        <p:spPr/>
        <p:txBody>
          <a:bodyPr/>
          <a:lstStyle/>
          <a:p>
            <a:r>
              <a:rPr lang="de-DE" noProof="0" dirty="0"/>
              <a:t>© 2017</a:t>
            </a:r>
            <a:endParaRPr lang="en-US" noProof="0" dirty="0"/>
          </a:p>
        </p:txBody>
      </p:sp>
    </p:spTree>
    <p:extLst>
      <p:ext uri="{BB962C8B-B14F-4D97-AF65-F5344CB8AC3E}">
        <p14:creationId xmlns:p14="http://schemas.microsoft.com/office/powerpoint/2010/main" val="3757802473"/>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lide Lessons Learned 2 Boxes">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en-US" noProof="0" dirty="0"/>
              <a:t>Editable name of event</a:t>
            </a:r>
          </a:p>
        </p:txBody>
      </p:sp>
      <p:sp>
        <p:nvSpPr>
          <p:cNvPr id="5" name="Titel 4"/>
          <p:cNvSpPr>
            <a:spLocks noGrp="1"/>
          </p:cNvSpPr>
          <p:nvPr>
            <p:ph type="title" hasCustomPrompt="1"/>
          </p:nvPr>
        </p:nvSpPr>
        <p:spPr/>
        <p:txBody>
          <a:bodyPr/>
          <a:lstStyle>
            <a:lvl1pPr>
              <a:defRPr/>
            </a:lvl1pPr>
          </a:lstStyle>
          <a:p>
            <a:r>
              <a:rPr lang="en-US" noProof="0" dirty="0"/>
              <a:t>Click to add title</a:t>
            </a:r>
          </a:p>
        </p:txBody>
      </p:sp>
      <p:sp>
        <p:nvSpPr>
          <p:cNvPr id="7" name="Textplatzhalter 3"/>
          <p:cNvSpPr>
            <a:spLocks noGrp="1"/>
          </p:cNvSpPr>
          <p:nvPr>
            <p:ph type="body" sz="quarter" idx="21" hasCustomPrompt="1"/>
          </p:nvPr>
        </p:nvSpPr>
        <p:spPr>
          <a:xfrm>
            <a:off x="4751387" y="3779520"/>
            <a:ext cx="3985200" cy="952818"/>
          </a:xfrm>
          <a:prstGeom prst="rect">
            <a:avLst/>
          </a:prstGeom>
          <a:solidFill>
            <a:schemeClr val="accent1"/>
          </a:solidFill>
        </p:spPr>
        <p:txBody>
          <a:bodyPr anchor="t">
            <a:normAutofit/>
          </a:bodyPr>
          <a:lstStyle>
            <a:lvl1pPr marL="285750" indent="-285750" algn="l">
              <a:lnSpc>
                <a:spcPct val="100000"/>
              </a:lnSpc>
              <a:spcBef>
                <a:spcPts val="0"/>
              </a:spcBef>
              <a:spcAft>
                <a:spcPts val="600"/>
              </a:spcAft>
              <a:buFontTx/>
              <a:buBlip>
                <a:blip r:embed="rId2"/>
              </a:buBlip>
              <a:defRPr sz="1800" baseline="0">
                <a:solidFill>
                  <a:schemeClr val="bg1"/>
                </a:solidFill>
              </a:defRPr>
            </a:lvl1pPr>
          </a:lstStyle>
          <a:p>
            <a:pPr lvl="0"/>
            <a:r>
              <a:rPr lang="en-US" noProof="0" dirty="0"/>
              <a:t>Click to add text</a:t>
            </a:r>
          </a:p>
        </p:txBody>
      </p:sp>
      <p:sp>
        <p:nvSpPr>
          <p:cNvPr id="12" name="Textplatzhalter 11"/>
          <p:cNvSpPr>
            <a:spLocks noGrp="1"/>
          </p:cNvSpPr>
          <p:nvPr>
            <p:ph type="body" sz="quarter" idx="22" hasCustomPrompt="1"/>
          </p:nvPr>
        </p:nvSpPr>
        <p:spPr>
          <a:xfrm>
            <a:off x="252000" y="914400"/>
            <a:ext cx="8640000" cy="2606400"/>
          </a:xfrm>
        </p:spPr>
        <p:txBody>
          <a:bodyPr/>
          <a:lstStyle>
            <a:lvl1pPr>
              <a:defRPr/>
            </a:lvl1pPr>
            <a:lvl2pPr>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47" name="Textplatzhalter 46"/>
          <p:cNvSpPr>
            <a:spLocks noGrp="1" noChangeAspect="1"/>
          </p:cNvSpPr>
          <p:nvPr>
            <p:ph type="body" sz="quarter" idx="23" hasCustomPrompt="1"/>
          </p:nvPr>
        </p:nvSpPr>
        <p:spPr>
          <a:xfrm>
            <a:off x="407044" y="3779520"/>
            <a:ext cx="3985569" cy="952818"/>
          </a:xfrm>
          <a:prstGeom prst="rect">
            <a:avLst/>
          </a:prstGeom>
          <a:solidFill>
            <a:schemeClr val="accent1"/>
          </a:solidFill>
        </p:spPr>
        <p:txBody>
          <a:bodyPr vert="horz" lIns="91440" tIns="45720" rIns="91440" bIns="45720" rtlCol="0" anchor="t">
            <a:normAutofit/>
          </a:bodyPr>
          <a:lstStyle>
            <a:lvl1pPr marL="171450" indent="-171450">
              <a:buFont typeface="Arial" panose="020B0604020202020204" pitchFamily="34" charset="0"/>
              <a:buChar char="•"/>
              <a:defRPr lang="de-DE" baseline="0" dirty="0">
                <a:solidFill>
                  <a:schemeClr val="bg1"/>
                </a:solidFill>
              </a:defRPr>
            </a:lvl1pPr>
            <a:lvl2pPr>
              <a:defRPr lang="de-DE" dirty="0"/>
            </a:lvl2pPr>
          </a:lstStyle>
          <a:p>
            <a:pPr marL="285750" lvl="0" indent="-285750">
              <a:spcBef>
                <a:spcPts val="0"/>
              </a:spcBef>
              <a:spcAft>
                <a:spcPts val="600"/>
              </a:spcAft>
              <a:buBlip>
                <a:blip r:embed="rId2"/>
              </a:buBlip>
            </a:pPr>
            <a:r>
              <a:rPr lang="en-US" noProof="0" dirty="0"/>
              <a:t>Click to add text</a:t>
            </a:r>
          </a:p>
        </p:txBody>
      </p:sp>
      <p:sp>
        <p:nvSpPr>
          <p:cNvPr id="3" name="Datumsplatzhalter 2"/>
          <p:cNvSpPr>
            <a:spLocks noGrp="1"/>
          </p:cNvSpPr>
          <p:nvPr>
            <p:ph type="dt" sz="half" idx="24"/>
          </p:nvPr>
        </p:nvSpPr>
        <p:spPr/>
        <p:txBody>
          <a:bodyPr/>
          <a:lstStyle/>
          <a:p>
            <a:r>
              <a:rPr lang="de-DE" noProof="0" dirty="0"/>
              <a:t>© 2017</a:t>
            </a:r>
            <a:endParaRPr lang="en-US" noProof="0" dirty="0"/>
          </a:p>
        </p:txBody>
      </p:sp>
    </p:spTree>
    <p:extLst>
      <p:ext uri="{BB962C8B-B14F-4D97-AF65-F5344CB8AC3E}">
        <p14:creationId xmlns:p14="http://schemas.microsoft.com/office/powerpoint/2010/main" val="1652378354"/>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Slide Lessons Learned">
    <p:spTree>
      <p:nvGrpSpPr>
        <p:cNvPr id="1" name=""/>
        <p:cNvGrpSpPr/>
        <p:nvPr/>
      </p:nvGrpSpPr>
      <p:grpSpPr>
        <a:xfrm>
          <a:off x="0" y="0"/>
          <a:ext cx="0" cy="0"/>
          <a:chOff x="0" y="0"/>
          <a:chExt cx="0" cy="0"/>
        </a:xfrm>
      </p:grpSpPr>
      <p:sp>
        <p:nvSpPr>
          <p:cNvPr id="7" name="Textplatzhalter 3"/>
          <p:cNvSpPr>
            <a:spLocks noGrp="1"/>
          </p:cNvSpPr>
          <p:nvPr>
            <p:ph type="body" sz="quarter" idx="21" hasCustomPrompt="1"/>
          </p:nvPr>
        </p:nvSpPr>
        <p:spPr>
          <a:xfrm>
            <a:off x="1275406" y="3779520"/>
            <a:ext cx="6593189" cy="838200"/>
          </a:xfrm>
          <a:prstGeom prst="rect">
            <a:avLst/>
          </a:prstGeom>
          <a:solidFill>
            <a:schemeClr val="accent1"/>
          </a:solidFill>
        </p:spPr>
        <p:txBody>
          <a:bodyPr anchor="ctr">
            <a:normAutofit/>
          </a:bodyPr>
          <a:lstStyle>
            <a:lvl1pPr marL="285750" indent="-285750" algn="l">
              <a:lnSpc>
                <a:spcPct val="100000"/>
              </a:lnSpc>
              <a:spcBef>
                <a:spcPts val="0"/>
              </a:spcBef>
              <a:spcAft>
                <a:spcPts val="600"/>
              </a:spcAft>
              <a:buFontTx/>
              <a:buBlip>
                <a:blip r:embed="rId2"/>
              </a:buBlip>
              <a:defRPr sz="1800">
                <a:solidFill>
                  <a:schemeClr val="bg1"/>
                </a:solidFill>
              </a:defRPr>
            </a:lvl1pPr>
          </a:lstStyle>
          <a:p>
            <a:pPr lvl="0"/>
            <a:r>
              <a:rPr lang="en-US" noProof="0" dirty="0"/>
              <a:t>Click to add text</a:t>
            </a:r>
          </a:p>
        </p:txBody>
      </p:sp>
      <p:sp>
        <p:nvSpPr>
          <p:cNvPr id="2" name="Fußzeilenplatzhalter 1"/>
          <p:cNvSpPr>
            <a:spLocks noGrp="1"/>
          </p:cNvSpPr>
          <p:nvPr>
            <p:ph type="ftr" sz="quarter" idx="15"/>
          </p:nvPr>
        </p:nvSpPr>
        <p:spPr/>
        <p:txBody>
          <a:bodyPr/>
          <a:lstStyle/>
          <a:p>
            <a:r>
              <a:rPr lang="en-US" noProof="0" dirty="0"/>
              <a:t>Editable name of event</a:t>
            </a:r>
          </a:p>
        </p:txBody>
      </p:sp>
      <p:sp>
        <p:nvSpPr>
          <p:cNvPr id="5" name="Titel 4"/>
          <p:cNvSpPr>
            <a:spLocks noGrp="1"/>
          </p:cNvSpPr>
          <p:nvPr>
            <p:ph type="title" hasCustomPrompt="1"/>
          </p:nvPr>
        </p:nvSpPr>
        <p:spPr/>
        <p:txBody>
          <a:bodyPr/>
          <a:lstStyle>
            <a:lvl1pPr>
              <a:defRPr/>
            </a:lvl1pPr>
          </a:lstStyle>
          <a:p>
            <a:r>
              <a:rPr lang="en-US" noProof="0" dirty="0"/>
              <a:t>Click to add title</a:t>
            </a:r>
          </a:p>
        </p:txBody>
      </p:sp>
      <p:sp>
        <p:nvSpPr>
          <p:cNvPr id="6" name="Textplatzhalter 5"/>
          <p:cNvSpPr>
            <a:spLocks noGrp="1"/>
          </p:cNvSpPr>
          <p:nvPr>
            <p:ph type="body" sz="quarter" idx="22" hasCustomPrompt="1"/>
          </p:nvPr>
        </p:nvSpPr>
        <p:spPr>
          <a:xfrm>
            <a:off x="252000" y="914400"/>
            <a:ext cx="8640000" cy="2606400"/>
          </a:xfrm>
        </p:spPr>
        <p:txBody>
          <a:bodyPr/>
          <a:lstStyle>
            <a:lvl1pPr>
              <a:defRPr/>
            </a:lvl1pPr>
            <a:lvl2pPr>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23"/>
          </p:nvPr>
        </p:nvSpPr>
        <p:spPr/>
        <p:txBody>
          <a:bodyPr/>
          <a:lstStyle/>
          <a:p>
            <a:r>
              <a:rPr lang="de-DE" noProof="0" dirty="0"/>
              <a:t>© 2017</a:t>
            </a:r>
            <a:endParaRPr lang="en-US" noProof="0" dirty="0"/>
          </a:p>
        </p:txBody>
      </p:sp>
    </p:spTree>
    <p:extLst>
      <p:ext uri="{BB962C8B-B14F-4D97-AF65-F5344CB8AC3E}">
        <p14:creationId xmlns:p14="http://schemas.microsoft.com/office/powerpoint/2010/main" val="516771709"/>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Pictures Rhombus">
    <p:spTree>
      <p:nvGrpSpPr>
        <p:cNvPr id="1" name=""/>
        <p:cNvGrpSpPr/>
        <p:nvPr/>
      </p:nvGrpSpPr>
      <p:grpSpPr>
        <a:xfrm>
          <a:off x="0" y="0"/>
          <a:ext cx="0" cy="0"/>
          <a:chOff x="0" y="0"/>
          <a:chExt cx="0" cy="0"/>
        </a:xfrm>
      </p:grpSpPr>
      <p:sp>
        <p:nvSpPr>
          <p:cNvPr id="21" name="Bildplatzhalter 20"/>
          <p:cNvSpPr>
            <a:spLocks noGrp="1" noChangeAspect="1"/>
          </p:cNvSpPr>
          <p:nvPr>
            <p:ph type="pic" sz="quarter" idx="16" hasCustomPrompt="1"/>
          </p:nvPr>
        </p:nvSpPr>
        <p:spPr>
          <a:xfrm>
            <a:off x="4756038" y="990283"/>
            <a:ext cx="4141789" cy="3126974"/>
          </a:xfrm>
          <a:custGeom>
            <a:avLst/>
            <a:gdLst>
              <a:gd name="connsiteX0" fmla="*/ 783741 w 3664734"/>
              <a:gd name="connsiteY0" fmla="*/ 0 h 2489542"/>
              <a:gd name="connsiteX1" fmla="*/ 2943299 w 3664734"/>
              <a:gd name="connsiteY1" fmla="*/ 4182 h 2489542"/>
              <a:gd name="connsiteX2" fmla="*/ 2943299 w 3664734"/>
              <a:gd name="connsiteY2" fmla="*/ 4190 h 2489542"/>
              <a:gd name="connsiteX3" fmla="*/ 2973748 w 3664734"/>
              <a:gd name="connsiteY3" fmla="*/ 3542 h 2489542"/>
              <a:gd name="connsiteX4" fmla="*/ 3213318 w 3664734"/>
              <a:gd name="connsiteY4" fmla="*/ 3248 h 2489542"/>
              <a:gd name="connsiteX5" fmla="*/ 3353570 w 3664734"/>
              <a:gd name="connsiteY5" fmla="*/ 989 h 2489542"/>
              <a:gd name="connsiteX6" fmla="*/ 3649646 w 3664734"/>
              <a:gd name="connsiteY6" fmla="*/ 402839 h 2489542"/>
              <a:gd name="connsiteX7" fmla="*/ 3303363 w 3664734"/>
              <a:gd name="connsiteY7" fmla="*/ 2076484 h 2489542"/>
              <a:gd name="connsiteX8" fmla="*/ 2880993 w 3664734"/>
              <a:gd name="connsiteY8" fmla="*/ 2489542 h 2489542"/>
              <a:gd name="connsiteX9" fmla="*/ 721435 w 3664734"/>
              <a:gd name="connsiteY9" fmla="*/ 2485360 h 2489542"/>
              <a:gd name="connsiteX10" fmla="*/ 721435 w 3664734"/>
              <a:gd name="connsiteY10" fmla="*/ 2485352 h 2489542"/>
              <a:gd name="connsiteX11" fmla="*/ 690987 w 3664734"/>
              <a:gd name="connsiteY11" fmla="*/ 2485999 h 2489542"/>
              <a:gd name="connsiteX12" fmla="*/ 451416 w 3664734"/>
              <a:gd name="connsiteY12" fmla="*/ 2486294 h 2489542"/>
              <a:gd name="connsiteX13" fmla="*/ 311164 w 3664734"/>
              <a:gd name="connsiteY13" fmla="*/ 2488553 h 2489542"/>
              <a:gd name="connsiteX14" fmla="*/ 15088 w 3664734"/>
              <a:gd name="connsiteY14" fmla="*/ 2086703 h 2489542"/>
              <a:gd name="connsiteX15" fmla="*/ 361371 w 3664734"/>
              <a:gd name="connsiteY15" fmla="*/ 413058 h 2489542"/>
              <a:gd name="connsiteX16" fmla="*/ 783741 w 3664734"/>
              <a:gd name="connsiteY16" fmla="*/ 0 h 248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64734" h="2489542">
                <a:moveTo>
                  <a:pt x="783741" y="0"/>
                </a:moveTo>
                <a:lnTo>
                  <a:pt x="2943299" y="4182"/>
                </a:lnTo>
                <a:lnTo>
                  <a:pt x="2943299" y="4190"/>
                </a:lnTo>
                <a:lnTo>
                  <a:pt x="2973748" y="3542"/>
                </a:lnTo>
                <a:cubicBezTo>
                  <a:pt x="3130753" y="134"/>
                  <a:pt x="2914154" y="3898"/>
                  <a:pt x="3213318" y="3248"/>
                </a:cubicBezTo>
                <a:cubicBezTo>
                  <a:pt x="3265269" y="-121"/>
                  <a:pt x="3311880" y="-858"/>
                  <a:pt x="3353570" y="989"/>
                </a:cubicBezTo>
                <a:cubicBezTo>
                  <a:pt x="3645400" y="13916"/>
                  <a:pt x="3696116" y="153448"/>
                  <a:pt x="3649646" y="402839"/>
                </a:cubicBezTo>
                <a:lnTo>
                  <a:pt x="3303363" y="2076484"/>
                </a:lnTo>
                <a:cubicBezTo>
                  <a:pt x="3272714" y="2319233"/>
                  <a:pt x="3104106" y="2489542"/>
                  <a:pt x="2880993" y="2489542"/>
                </a:cubicBezTo>
                <a:lnTo>
                  <a:pt x="721435" y="2485360"/>
                </a:lnTo>
                <a:lnTo>
                  <a:pt x="721435" y="2485352"/>
                </a:lnTo>
                <a:lnTo>
                  <a:pt x="690987" y="2485999"/>
                </a:lnTo>
                <a:cubicBezTo>
                  <a:pt x="533981" y="2489407"/>
                  <a:pt x="750580" y="2485644"/>
                  <a:pt x="451416" y="2486294"/>
                </a:cubicBezTo>
                <a:cubicBezTo>
                  <a:pt x="399465" y="2489663"/>
                  <a:pt x="352854" y="2490400"/>
                  <a:pt x="311164" y="2488553"/>
                </a:cubicBezTo>
                <a:cubicBezTo>
                  <a:pt x="19334" y="2475626"/>
                  <a:pt x="-31382" y="2336094"/>
                  <a:pt x="15088" y="2086703"/>
                </a:cubicBezTo>
                <a:lnTo>
                  <a:pt x="361371" y="413058"/>
                </a:lnTo>
                <a:cubicBezTo>
                  <a:pt x="392020" y="170309"/>
                  <a:pt x="560628" y="0"/>
                  <a:pt x="783741" y="0"/>
                </a:cubicBezTo>
                <a:close/>
              </a:path>
            </a:pathLst>
          </a:custGeom>
        </p:spPr>
        <p:txBody>
          <a:bodyPr wrap="square">
            <a:noAutofit/>
          </a:bodyPr>
          <a:lstStyle>
            <a:lvl1pPr marL="0" indent="0">
              <a:buNone/>
              <a:defRPr/>
            </a:lvl1pPr>
          </a:lstStyle>
          <a:p>
            <a:r>
              <a:rPr lang="en-US" noProof="0" dirty="0"/>
              <a:t>		</a:t>
            </a:r>
          </a:p>
          <a:p>
            <a:r>
              <a:rPr lang="en-US" noProof="0" dirty="0"/>
              <a:t>			</a:t>
            </a:r>
          </a:p>
          <a:p>
            <a:r>
              <a:rPr lang="en-US" noProof="0" dirty="0"/>
              <a:t>	    Click to add picture</a:t>
            </a:r>
          </a:p>
        </p:txBody>
      </p:sp>
      <p:sp>
        <p:nvSpPr>
          <p:cNvPr id="2" name="Fußzeilenplatzhalter 1"/>
          <p:cNvSpPr>
            <a:spLocks noGrp="1"/>
          </p:cNvSpPr>
          <p:nvPr>
            <p:ph type="ftr" sz="quarter" idx="19"/>
          </p:nvPr>
        </p:nvSpPr>
        <p:spPr/>
        <p:txBody>
          <a:bodyPr/>
          <a:lstStyle/>
          <a:p>
            <a:r>
              <a:rPr lang="en-US" noProof="0" dirty="0"/>
              <a:t>Editable name of event</a:t>
            </a:r>
          </a:p>
        </p:txBody>
      </p:sp>
      <p:sp>
        <p:nvSpPr>
          <p:cNvPr id="7" name="Foliennummernplatzhalter 1"/>
          <p:cNvSpPr>
            <a:spLocks noGrp="1"/>
          </p:cNvSpPr>
          <p:nvPr>
            <p:ph type="sldNum" sz="quarter" idx="4"/>
          </p:nvPr>
        </p:nvSpPr>
        <p:spPr>
          <a:xfrm>
            <a:off x="8408119" y="4818324"/>
            <a:ext cx="536121" cy="264684"/>
          </a:xfrm>
          <a:prstGeom prst="rect">
            <a:avLst/>
          </a:prstGeom>
        </p:spPr>
        <p:txBody>
          <a:bodyPr vert="horz" lIns="91440" tIns="45720" rIns="91440" bIns="45720" rtlCol="0" anchor="ctr"/>
          <a:lstStyle>
            <a:lvl1pPr algn="r">
              <a:defRPr sz="1200">
                <a:solidFill>
                  <a:schemeClr val="bg1"/>
                </a:solidFill>
              </a:defRPr>
            </a:lvl1pPr>
          </a:lstStyle>
          <a:p>
            <a:fld id="{F0B876DB-ED65-473E-9C95-7A5D374C8C64}" type="slidenum">
              <a:rPr lang="en-US" noProof="0" smtClean="0"/>
              <a:pPr/>
              <a:t>‹#›</a:t>
            </a:fld>
            <a:endParaRPr lang="en-US" noProof="0" dirty="0"/>
          </a:p>
        </p:txBody>
      </p:sp>
      <p:sp>
        <p:nvSpPr>
          <p:cNvPr id="5" name="Textplatzhalter 4"/>
          <p:cNvSpPr>
            <a:spLocks noGrp="1"/>
          </p:cNvSpPr>
          <p:nvPr>
            <p:ph type="body" sz="quarter" idx="20" hasCustomPrompt="1"/>
          </p:nvPr>
        </p:nvSpPr>
        <p:spPr>
          <a:xfrm>
            <a:off x="4756038" y="4117257"/>
            <a:ext cx="4141788" cy="544577"/>
          </a:xfrm>
          <a:prstGeom prst="rect">
            <a:avLst/>
          </a:prstGeom>
        </p:spPr>
        <p:txBody>
          <a:bodyPr anchor="ctr"/>
          <a:lstStyle>
            <a:lvl1pPr marL="0" indent="0" algn="ctr">
              <a:buNone/>
              <a:defRPr sz="1800" baseline="0"/>
            </a:lvl1pPr>
          </a:lstStyle>
          <a:p>
            <a:pPr lvl="0"/>
            <a:r>
              <a:rPr lang="en-US" noProof="0" dirty="0"/>
              <a:t>Click to add picture title</a:t>
            </a:r>
          </a:p>
        </p:txBody>
      </p:sp>
      <p:sp>
        <p:nvSpPr>
          <p:cNvPr id="8" name="Titel 7"/>
          <p:cNvSpPr>
            <a:spLocks noGrp="1"/>
          </p:cNvSpPr>
          <p:nvPr>
            <p:ph type="title" hasCustomPrompt="1"/>
          </p:nvPr>
        </p:nvSpPr>
        <p:spPr/>
        <p:txBody>
          <a:bodyPr/>
          <a:lstStyle>
            <a:lvl1pPr>
              <a:defRPr/>
            </a:lvl1pPr>
          </a:lstStyle>
          <a:p>
            <a:r>
              <a:rPr lang="en-US" noProof="0" dirty="0"/>
              <a:t>Click to add title</a:t>
            </a:r>
          </a:p>
        </p:txBody>
      </p:sp>
      <p:sp>
        <p:nvSpPr>
          <p:cNvPr id="9" name="Bildplatzhalter 20"/>
          <p:cNvSpPr>
            <a:spLocks noGrp="1" noChangeAspect="1"/>
          </p:cNvSpPr>
          <p:nvPr>
            <p:ph type="pic" sz="quarter" idx="21" hasCustomPrompt="1"/>
          </p:nvPr>
        </p:nvSpPr>
        <p:spPr>
          <a:xfrm>
            <a:off x="258453" y="995064"/>
            <a:ext cx="4141789" cy="3126974"/>
          </a:xfrm>
          <a:custGeom>
            <a:avLst/>
            <a:gdLst>
              <a:gd name="connsiteX0" fmla="*/ 783741 w 3664734"/>
              <a:gd name="connsiteY0" fmla="*/ 0 h 2489542"/>
              <a:gd name="connsiteX1" fmla="*/ 2943299 w 3664734"/>
              <a:gd name="connsiteY1" fmla="*/ 4182 h 2489542"/>
              <a:gd name="connsiteX2" fmla="*/ 2943299 w 3664734"/>
              <a:gd name="connsiteY2" fmla="*/ 4190 h 2489542"/>
              <a:gd name="connsiteX3" fmla="*/ 2973748 w 3664734"/>
              <a:gd name="connsiteY3" fmla="*/ 3542 h 2489542"/>
              <a:gd name="connsiteX4" fmla="*/ 3213318 w 3664734"/>
              <a:gd name="connsiteY4" fmla="*/ 3248 h 2489542"/>
              <a:gd name="connsiteX5" fmla="*/ 3353570 w 3664734"/>
              <a:gd name="connsiteY5" fmla="*/ 989 h 2489542"/>
              <a:gd name="connsiteX6" fmla="*/ 3649646 w 3664734"/>
              <a:gd name="connsiteY6" fmla="*/ 402839 h 2489542"/>
              <a:gd name="connsiteX7" fmla="*/ 3303363 w 3664734"/>
              <a:gd name="connsiteY7" fmla="*/ 2076484 h 2489542"/>
              <a:gd name="connsiteX8" fmla="*/ 2880993 w 3664734"/>
              <a:gd name="connsiteY8" fmla="*/ 2489542 h 2489542"/>
              <a:gd name="connsiteX9" fmla="*/ 721435 w 3664734"/>
              <a:gd name="connsiteY9" fmla="*/ 2485360 h 2489542"/>
              <a:gd name="connsiteX10" fmla="*/ 721435 w 3664734"/>
              <a:gd name="connsiteY10" fmla="*/ 2485352 h 2489542"/>
              <a:gd name="connsiteX11" fmla="*/ 690987 w 3664734"/>
              <a:gd name="connsiteY11" fmla="*/ 2485999 h 2489542"/>
              <a:gd name="connsiteX12" fmla="*/ 451416 w 3664734"/>
              <a:gd name="connsiteY12" fmla="*/ 2486294 h 2489542"/>
              <a:gd name="connsiteX13" fmla="*/ 311164 w 3664734"/>
              <a:gd name="connsiteY13" fmla="*/ 2488553 h 2489542"/>
              <a:gd name="connsiteX14" fmla="*/ 15088 w 3664734"/>
              <a:gd name="connsiteY14" fmla="*/ 2086703 h 2489542"/>
              <a:gd name="connsiteX15" fmla="*/ 361371 w 3664734"/>
              <a:gd name="connsiteY15" fmla="*/ 413058 h 2489542"/>
              <a:gd name="connsiteX16" fmla="*/ 783741 w 3664734"/>
              <a:gd name="connsiteY16" fmla="*/ 0 h 248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64734" h="2489542">
                <a:moveTo>
                  <a:pt x="783741" y="0"/>
                </a:moveTo>
                <a:lnTo>
                  <a:pt x="2943299" y="4182"/>
                </a:lnTo>
                <a:lnTo>
                  <a:pt x="2943299" y="4190"/>
                </a:lnTo>
                <a:lnTo>
                  <a:pt x="2973748" y="3542"/>
                </a:lnTo>
                <a:cubicBezTo>
                  <a:pt x="3130753" y="134"/>
                  <a:pt x="2914154" y="3898"/>
                  <a:pt x="3213318" y="3248"/>
                </a:cubicBezTo>
                <a:cubicBezTo>
                  <a:pt x="3265269" y="-121"/>
                  <a:pt x="3311880" y="-858"/>
                  <a:pt x="3353570" y="989"/>
                </a:cubicBezTo>
                <a:cubicBezTo>
                  <a:pt x="3645400" y="13916"/>
                  <a:pt x="3696116" y="153448"/>
                  <a:pt x="3649646" y="402839"/>
                </a:cubicBezTo>
                <a:lnTo>
                  <a:pt x="3303363" y="2076484"/>
                </a:lnTo>
                <a:cubicBezTo>
                  <a:pt x="3272714" y="2319233"/>
                  <a:pt x="3104106" y="2489542"/>
                  <a:pt x="2880993" y="2489542"/>
                </a:cubicBezTo>
                <a:lnTo>
                  <a:pt x="721435" y="2485360"/>
                </a:lnTo>
                <a:lnTo>
                  <a:pt x="721435" y="2485352"/>
                </a:lnTo>
                <a:lnTo>
                  <a:pt x="690987" y="2485999"/>
                </a:lnTo>
                <a:cubicBezTo>
                  <a:pt x="533981" y="2489407"/>
                  <a:pt x="750580" y="2485644"/>
                  <a:pt x="451416" y="2486294"/>
                </a:cubicBezTo>
                <a:cubicBezTo>
                  <a:pt x="399465" y="2489663"/>
                  <a:pt x="352854" y="2490400"/>
                  <a:pt x="311164" y="2488553"/>
                </a:cubicBezTo>
                <a:cubicBezTo>
                  <a:pt x="19334" y="2475626"/>
                  <a:pt x="-31382" y="2336094"/>
                  <a:pt x="15088" y="2086703"/>
                </a:cubicBezTo>
                <a:lnTo>
                  <a:pt x="361371" y="413058"/>
                </a:lnTo>
                <a:cubicBezTo>
                  <a:pt x="392020" y="170309"/>
                  <a:pt x="560628" y="0"/>
                  <a:pt x="783741" y="0"/>
                </a:cubicBezTo>
                <a:close/>
              </a:path>
            </a:pathLst>
          </a:custGeom>
        </p:spPr>
        <p:txBody>
          <a:bodyPr wrap="square">
            <a:noAutofit/>
          </a:bodyPr>
          <a:lstStyle>
            <a:lvl1pPr marL="0" indent="0">
              <a:buNone/>
              <a:defRPr/>
            </a:lvl1pPr>
          </a:lstStyle>
          <a:p>
            <a:r>
              <a:rPr lang="en-US" noProof="0" dirty="0"/>
              <a:t>		</a:t>
            </a:r>
          </a:p>
          <a:p>
            <a:r>
              <a:rPr lang="en-US" noProof="0" dirty="0"/>
              <a:t>			</a:t>
            </a:r>
          </a:p>
          <a:p>
            <a:r>
              <a:rPr lang="en-US" noProof="0" dirty="0"/>
              <a:t>	    Click to add picture </a:t>
            </a:r>
          </a:p>
        </p:txBody>
      </p:sp>
      <p:sp>
        <p:nvSpPr>
          <p:cNvPr id="11" name="Textplatzhalter 4"/>
          <p:cNvSpPr>
            <a:spLocks noGrp="1"/>
          </p:cNvSpPr>
          <p:nvPr>
            <p:ph type="body" sz="quarter" idx="22" hasCustomPrompt="1"/>
          </p:nvPr>
        </p:nvSpPr>
        <p:spPr>
          <a:xfrm>
            <a:off x="258453" y="4122038"/>
            <a:ext cx="4141788" cy="544577"/>
          </a:xfrm>
          <a:prstGeom prst="rect">
            <a:avLst/>
          </a:prstGeom>
        </p:spPr>
        <p:txBody>
          <a:bodyPr anchor="ctr"/>
          <a:lstStyle>
            <a:lvl1pPr marL="0" indent="0" algn="ctr">
              <a:buNone/>
              <a:defRPr sz="1800" baseline="0"/>
            </a:lvl1pPr>
          </a:lstStyle>
          <a:p>
            <a:pPr lvl="0"/>
            <a:r>
              <a:rPr lang="en-US" noProof="0" dirty="0"/>
              <a:t>Click to add picture title</a:t>
            </a:r>
          </a:p>
        </p:txBody>
      </p:sp>
      <p:sp>
        <p:nvSpPr>
          <p:cNvPr id="3" name="Datumsplatzhalter 2"/>
          <p:cNvSpPr>
            <a:spLocks noGrp="1"/>
          </p:cNvSpPr>
          <p:nvPr>
            <p:ph type="dt" sz="half" idx="23"/>
          </p:nvPr>
        </p:nvSpPr>
        <p:spPr/>
        <p:txBody>
          <a:bodyPr/>
          <a:lstStyle/>
          <a:p>
            <a:r>
              <a:rPr lang="de-DE" noProof="0" dirty="0"/>
              <a:t>© 2017</a:t>
            </a:r>
            <a:endParaRPr lang="en-US" noProof="0" dirty="0"/>
          </a:p>
        </p:txBody>
      </p:sp>
    </p:spTree>
    <p:extLst>
      <p:ext uri="{BB962C8B-B14F-4D97-AF65-F5344CB8AC3E}">
        <p14:creationId xmlns:p14="http://schemas.microsoft.com/office/powerpoint/2010/main" val="15510018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Pictures Rhombus">
    <p:spTree>
      <p:nvGrpSpPr>
        <p:cNvPr id="1" name=""/>
        <p:cNvGrpSpPr/>
        <p:nvPr/>
      </p:nvGrpSpPr>
      <p:grpSpPr>
        <a:xfrm>
          <a:off x="0" y="0"/>
          <a:ext cx="0" cy="0"/>
          <a:chOff x="0" y="0"/>
          <a:chExt cx="0" cy="0"/>
        </a:xfrm>
      </p:grpSpPr>
      <p:sp>
        <p:nvSpPr>
          <p:cNvPr id="2" name="Fußzeilenplatzhalter 1"/>
          <p:cNvSpPr>
            <a:spLocks noGrp="1"/>
          </p:cNvSpPr>
          <p:nvPr>
            <p:ph type="ftr" sz="quarter" idx="18"/>
          </p:nvPr>
        </p:nvSpPr>
        <p:spPr/>
        <p:txBody>
          <a:bodyPr/>
          <a:lstStyle/>
          <a:p>
            <a:r>
              <a:rPr lang="en-US" noProof="0" dirty="0"/>
              <a:t>Editable name of event</a:t>
            </a:r>
          </a:p>
        </p:txBody>
      </p:sp>
      <p:sp>
        <p:nvSpPr>
          <p:cNvPr id="6" name="Foliennummernplatzhalter 1"/>
          <p:cNvSpPr>
            <a:spLocks noGrp="1"/>
          </p:cNvSpPr>
          <p:nvPr>
            <p:ph type="sldNum" sz="quarter" idx="4"/>
          </p:nvPr>
        </p:nvSpPr>
        <p:spPr>
          <a:xfrm>
            <a:off x="8408119" y="4818324"/>
            <a:ext cx="536121" cy="264684"/>
          </a:xfrm>
          <a:prstGeom prst="rect">
            <a:avLst/>
          </a:prstGeom>
        </p:spPr>
        <p:txBody>
          <a:bodyPr vert="horz" lIns="91440" tIns="45720" rIns="91440" bIns="45720" rtlCol="0" anchor="ctr"/>
          <a:lstStyle>
            <a:lvl1pPr algn="r">
              <a:defRPr sz="1200">
                <a:solidFill>
                  <a:schemeClr val="bg1"/>
                </a:solidFill>
              </a:defRPr>
            </a:lvl1pPr>
          </a:lstStyle>
          <a:p>
            <a:fld id="{F0B876DB-ED65-473E-9C95-7A5D374C8C64}" type="slidenum">
              <a:rPr lang="en-US" noProof="0" smtClean="0"/>
              <a:pPr/>
              <a:t>‹#›</a:t>
            </a:fld>
            <a:endParaRPr lang="en-US" noProof="0" dirty="0"/>
          </a:p>
        </p:txBody>
      </p:sp>
      <p:sp>
        <p:nvSpPr>
          <p:cNvPr id="8" name="Bildplatzhalter 20"/>
          <p:cNvSpPr>
            <a:spLocks noGrp="1" noChangeAspect="1"/>
          </p:cNvSpPr>
          <p:nvPr>
            <p:ph type="pic" sz="quarter" idx="16" hasCustomPrompt="1"/>
          </p:nvPr>
        </p:nvSpPr>
        <p:spPr>
          <a:xfrm>
            <a:off x="250835" y="1087818"/>
            <a:ext cx="3021068" cy="2232000"/>
          </a:xfrm>
          <a:custGeom>
            <a:avLst/>
            <a:gdLst>
              <a:gd name="connsiteX0" fmla="*/ 783741 w 3664734"/>
              <a:gd name="connsiteY0" fmla="*/ 0 h 2489542"/>
              <a:gd name="connsiteX1" fmla="*/ 2943299 w 3664734"/>
              <a:gd name="connsiteY1" fmla="*/ 4182 h 2489542"/>
              <a:gd name="connsiteX2" fmla="*/ 2943299 w 3664734"/>
              <a:gd name="connsiteY2" fmla="*/ 4190 h 2489542"/>
              <a:gd name="connsiteX3" fmla="*/ 2973748 w 3664734"/>
              <a:gd name="connsiteY3" fmla="*/ 3542 h 2489542"/>
              <a:gd name="connsiteX4" fmla="*/ 3213318 w 3664734"/>
              <a:gd name="connsiteY4" fmla="*/ 3248 h 2489542"/>
              <a:gd name="connsiteX5" fmla="*/ 3353570 w 3664734"/>
              <a:gd name="connsiteY5" fmla="*/ 989 h 2489542"/>
              <a:gd name="connsiteX6" fmla="*/ 3649646 w 3664734"/>
              <a:gd name="connsiteY6" fmla="*/ 402839 h 2489542"/>
              <a:gd name="connsiteX7" fmla="*/ 3303363 w 3664734"/>
              <a:gd name="connsiteY7" fmla="*/ 2076484 h 2489542"/>
              <a:gd name="connsiteX8" fmla="*/ 2880993 w 3664734"/>
              <a:gd name="connsiteY8" fmla="*/ 2489542 h 2489542"/>
              <a:gd name="connsiteX9" fmla="*/ 721435 w 3664734"/>
              <a:gd name="connsiteY9" fmla="*/ 2485360 h 2489542"/>
              <a:gd name="connsiteX10" fmla="*/ 721435 w 3664734"/>
              <a:gd name="connsiteY10" fmla="*/ 2485352 h 2489542"/>
              <a:gd name="connsiteX11" fmla="*/ 690987 w 3664734"/>
              <a:gd name="connsiteY11" fmla="*/ 2485999 h 2489542"/>
              <a:gd name="connsiteX12" fmla="*/ 451416 w 3664734"/>
              <a:gd name="connsiteY12" fmla="*/ 2486294 h 2489542"/>
              <a:gd name="connsiteX13" fmla="*/ 311164 w 3664734"/>
              <a:gd name="connsiteY13" fmla="*/ 2488553 h 2489542"/>
              <a:gd name="connsiteX14" fmla="*/ 15088 w 3664734"/>
              <a:gd name="connsiteY14" fmla="*/ 2086703 h 2489542"/>
              <a:gd name="connsiteX15" fmla="*/ 361371 w 3664734"/>
              <a:gd name="connsiteY15" fmla="*/ 413058 h 2489542"/>
              <a:gd name="connsiteX16" fmla="*/ 783741 w 3664734"/>
              <a:gd name="connsiteY16" fmla="*/ 0 h 248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64734" h="2489542">
                <a:moveTo>
                  <a:pt x="783741" y="0"/>
                </a:moveTo>
                <a:lnTo>
                  <a:pt x="2943299" y="4182"/>
                </a:lnTo>
                <a:lnTo>
                  <a:pt x="2943299" y="4190"/>
                </a:lnTo>
                <a:lnTo>
                  <a:pt x="2973748" y="3542"/>
                </a:lnTo>
                <a:cubicBezTo>
                  <a:pt x="3130753" y="134"/>
                  <a:pt x="2914154" y="3898"/>
                  <a:pt x="3213318" y="3248"/>
                </a:cubicBezTo>
                <a:cubicBezTo>
                  <a:pt x="3265269" y="-121"/>
                  <a:pt x="3311880" y="-858"/>
                  <a:pt x="3353570" y="989"/>
                </a:cubicBezTo>
                <a:cubicBezTo>
                  <a:pt x="3645400" y="13916"/>
                  <a:pt x="3696116" y="153448"/>
                  <a:pt x="3649646" y="402839"/>
                </a:cubicBezTo>
                <a:lnTo>
                  <a:pt x="3303363" y="2076484"/>
                </a:lnTo>
                <a:cubicBezTo>
                  <a:pt x="3272714" y="2319233"/>
                  <a:pt x="3104106" y="2489542"/>
                  <a:pt x="2880993" y="2489542"/>
                </a:cubicBezTo>
                <a:lnTo>
                  <a:pt x="721435" y="2485360"/>
                </a:lnTo>
                <a:lnTo>
                  <a:pt x="721435" y="2485352"/>
                </a:lnTo>
                <a:lnTo>
                  <a:pt x="690987" y="2485999"/>
                </a:lnTo>
                <a:cubicBezTo>
                  <a:pt x="533981" y="2489407"/>
                  <a:pt x="750580" y="2485644"/>
                  <a:pt x="451416" y="2486294"/>
                </a:cubicBezTo>
                <a:cubicBezTo>
                  <a:pt x="399465" y="2489663"/>
                  <a:pt x="352854" y="2490400"/>
                  <a:pt x="311164" y="2488553"/>
                </a:cubicBezTo>
                <a:cubicBezTo>
                  <a:pt x="19334" y="2475626"/>
                  <a:pt x="-31382" y="2336094"/>
                  <a:pt x="15088" y="2086703"/>
                </a:cubicBezTo>
                <a:lnTo>
                  <a:pt x="361371" y="413058"/>
                </a:lnTo>
                <a:cubicBezTo>
                  <a:pt x="392020" y="170309"/>
                  <a:pt x="560628" y="0"/>
                  <a:pt x="783741" y="0"/>
                </a:cubicBezTo>
                <a:close/>
              </a:path>
            </a:pathLst>
          </a:custGeom>
        </p:spPr>
        <p:txBody>
          <a:bodyPr wrap="square" anchor="ctr">
            <a:noAutofit/>
          </a:bodyPr>
          <a:lstStyle>
            <a:lvl1pPr marL="684000" indent="-360000">
              <a:lnSpc>
                <a:spcPct val="100000"/>
              </a:lnSpc>
              <a:spcBef>
                <a:spcPts val="600"/>
              </a:spcBef>
              <a:spcAft>
                <a:spcPts val="600"/>
              </a:spcAft>
              <a:buNone/>
              <a:defRPr/>
            </a:lvl1pPr>
          </a:lstStyle>
          <a:p>
            <a:r>
              <a:rPr lang="en-US" noProof="0" dirty="0"/>
              <a:t>Click to add picture</a:t>
            </a:r>
          </a:p>
          <a:p>
            <a:endParaRPr lang="en-US" noProof="0" dirty="0"/>
          </a:p>
        </p:txBody>
      </p:sp>
      <p:sp>
        <p:nvSpPr>
          <p:cNvPr id="4" name="Textplatzhalter 3"/>
          <p:cNvSpPr>
            <a:spLocks noGrp="1"/>
          </p:cNvSpPr>
          <p:nvPr>
            <p:ph type="body" sz="quarter" idx="20" hasCustomPrompt="1"/>
          </p:nvPr>
        </p:nvSpPr>
        <p:spPr>
          <a:xfrm>
            <a:off x="250833" y="3379414"/>
            <a:ext cx="2682867" cy="1261484"/>
          </a:xfrm>
          <a:prstGeom prst="rect">
            <a:avLst/>
          </a:prstGeom>
        </p:spPr>
        <p:txBody>
          <a:bodyPr/>
          <a:lstStyle>
            <a:lvl1pPr marL="0" indent="0" algn="ctr">
              <a:lnSpc>
                <a:spcPct val="100000"/>
              </a:lnSpc>
              <a:spcBef>
                <a:spcPts val="0"/>
              </a:spcBef>
              <a:spcAft>
                <a:spcPts val="600"/>
              </a:spcAft>
              <a:buNone/>
              <a:defRPr sz="1600" baseline="0"/>
            </a:lvl1pPr>
          </a:lstStyle>
          <a:p>
            <a:pPr lvl="0"/>
            <a:r>
              <a:rPr lang="en-US" noProof="0" dirty="0"/>
              <a:t>Click to add text</a:t>
            </a:r>
          </a:p>
        </p:txBody>
      </p:sp>
      <p:sp>
        <p:nvSpPr>
          <p:cNvPr id="12" name="Bildplatzhalter 20"/>
          <p:cNvSpPr>
            <a:spLocks noGrp="1" noChangeAspect="1"/>
          </p:cNvSpPr>
          <p:nvPr>
            <p:ph type="pic" sz="quarter" idx="22" hasCustomPrompt="1"/>
          </p:nvPr>
        </p:nvSpPr>
        <p:spPr>
          <a:xfrm>
            <a:off x="3060920" y="1087818"/>
            <a:ext cx="3021068" cy="2232000"/>
          </a:xfrm>
          <a:custGeom>
            <a:avLst/>
            <a:gdLst>
              <a:gd name="connsiteX0" fmla="*/ 783741 w 3664734"/>
              <a:gd name="connsiteY0" fmla="*/ 0 h 2489542"/>
              <a:gd name="connsiteX1" fmla="*/ 2943299 w 3664734"/>
              <a:gd name="connsiteY1" fmla="*/ 4182 h 2489542"/>
              <a:gd name="connsiteX2" fmla="*/ 2943299 w 3664734"/>
              <a:gd name="connsiteY2" fmla="*/ 4190 h 2489542"/>
              <a:gd name="connsiteX3" fmla="*/ 2973748 w 3664734"/>
              <a:gd name="connsiteY3" fmla="*/ 3542 h 2489542"/>
              <a:gd name="connsiteX4" fmla="*/ 3213318 w 3664734"/>
              <a:gd name="connsiteY4" fmla="*/ 3248 h 2489542"/>
              <a:gd name="connsiteX5" fmla="*/ 3353570 w 3664734"/>
              <a:gd name="connsiteY5" fmla="*/ 989 h 2489542"/>
              <a:gd name="connsiteX6" fmla="*/ 3649646 w 3664734"/>
              <a:gd name="connsiteY6" fmla="*/ 402839 h 2489542"/>
              <a:gd name="connsiteX7" fmla="*/ 3303363 w 3664734"/>
              <a:gd name="connsiteY7" fmla="*/ 2076484 h 2489542"/>
              <a:gd name="connsiteX8" fmla="*/ 2880993 w 3664734"/>
              <a:gd name="connsiteY8" fmla="*/ 2489542 h 2489542"/>
              <a:gd name="connsiteX9" fmla="*/ 721435 w 3664734"/>
              <a:gd name="connsiteY9" fmla="*/ 2485360 h 2489542"/>
              <a:gd name="connsiteX10" fmla="*/ 721435 w 3664734"/>
              <a:gd name="connsiteY10" fmla="*/ 2485352 h 2489542"/>
              <a:gd name="connsiteX11" fmla="*/ 690987 w 3664734"/>
              <a:gd name="connsiteY11" fmla="*/ 2485999 h 2489542"/>
              <a:gd name="connsiteX12" fmla="*/ 451416 w 3664734"/>
              <a:gd name="connsiteY12" fmla="*/ 2486294 h 2489542"/>
              <a:gd name="connsiteX13" fmla="*/ 311164 w 3664734"/>
              <a:gd name="connsiteY13" fmla="*/ 2488553 h 2489542"/>
              <a:gd name="connsiteX14" fmla="*/ 15088 w 3664734"/>
              <a:gd name="connsiteY14" fmla="*/ 2086703 h 2489542"/>
              <a:gd name="connsiteX15" fmla="*/ 361371 w 3664734"/>
              <a:gd name="connsiteY15" fmla="*/ 413058 h 2489542"/>
              <a:gd name="connsiteX16" fmla="*/ 783741 w 3664734"/>
              <a:gd name="connsiteY16" fmla="*/ 0 h 248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64734" h="2489542">
                <a:moveTo>
                  <a:pt x="783741" y="0"/>
                </a:moveTo>
                <a:lnTo>
                  <a:pt x="2943299" y="4182"/>
                </a:lnTo>
                <a:lnTo>
                  <a:pt x="2943299" y="4190"/>
                </a:lnTo>
                <a:lnTo>
                  <a:pt x="2973748" y="3542"/>
                </a:lnTo>
                <a:cubicBezTo>
                  <a:pt x="3130753" y="134"/>
                  <a:pt x="2914154" y="3898"/>
                  <a:pt x="3213318" y="3248"/>
                </a:cubicBezTo>
                <a:cubicBezTo>
                  <a:pt x="3265269" y="-121"/>
                  <a:pt x="3311880" y="-858"/>
                  <a:pt x="3353570" y="989"/>
                </a:cubicBezTo>
                <a:cubicBezTo>
                  <a:pt x="3645400" y="13916"/>
                  <a:pt x="3696116" y="153448"/>
                  <a:pt x="3649646" y="402839"/>
                </a:cubicBezTo>
                <a:lnTo>
                  <a:pt x="3303363" y="2076484"/>
                </a:lnTo>
                <a:cubicBezTo>
                  <a:pt x="3272714" y="2319233"/>
                  <a:pt x="3104106" y="2489542"/>
                  <a:pt x="2880993" y="2489542"/>
                </a:cubicBezTo>
                <a:lnTo>
                  <a:pt x="721435" y="2485360"/>
                </a:lnTo>
                <a:lnTo>
                  <a:pt x="721435" y="2485352"/>
                </a:lnTo>
                <a:lnTo>
                  <a:pt x="690987" y="2485999"/>
                </a:lnTo>
                <a:cubicBezTo>
                  <a:pt x="533981" y="2489407"/>
                  <a:pt x="750580" y="2485644"/>
                  <a:pt x="451416" y="2486294"/>
                </a:cubicBezTo>
                <a:cubicBezTo>
                  <a:pt x="399465" y="2489663"/>
                  <a:pt x="352854" y="2490400"/>
                  <a:pt x="311164" y="2488553"/>
                </a:cubicBezTo>
                <a:cubicBezTo>
                  <a:pt x="19334" y="2475626"/>
                  <a:pt x="-31382" y="2336094"/>
                  <a:pt x="15088" y="2086703"/>
                </a:cubicBezTo>
                <a:lnTo>
                  <a:pt x="361371" y="413058"/>
                </a:lnTo>
                <a:cubicBezTo>
                  <a:pt x="392020" y="170309"/>
                  <a:pt x="560628" y="0"/>
                  <a:pt x="783741" y="0"/>
                </a:cubicBezTo>
                <a:close/>
              </a:path>
            </a:pathLst>
          </a:custGeom>
        </p:spPr>
        <p:txBody>
          <a:bodyPr wrap="square" anchor="ctr">
            <a:noAutofit/>
          </a:bodyPr>
          <a:lstStyle>
            <a:lvl1pPr marL="684000" indent="-360000">
              <a:lnSpc>
                <a:spcPct val="100000"/>
              </a:lnSpc>
              <a:spcBef>
                <a:spcPts val="600"/>
              </a:spcBef>
              <a:spcAft>
                <a:spcPts val="600"/>
              </a:spcAft>
              <a:buNone/>
              <a:defRPr/>
            </a:lvl1pPr>
          </a:lstStyle>
          <a:p>
            <a:r>
              <a:rPr lang="en-US" noProof="0" dirty="0"/>
              <a:t>	 Click to add picture</a:t>
            </a:r>
          </a:p>
          <a:p>
            <a:r>
              <a:rPr lang="en-US" noProof="0" dirty="0"/>
              <a:t> </a:t>
            </a:r>
          </a:p>
        </p:txBody>
      </p:sp>
      <p:sp>
        <p:nvSpPr>
          <p:cNvPr id="13" name="Bildplatzhalter 20"/>
          <p:cNvSpPr>
            <a:spLocks noGrp="1" noChangeAspect="1"/>
          </p:cNvSpPr>
          <p:nvPr>
            <p:ph type="pic" sz="quarter" idx="23" hasCustomPrompt="1"/>
          </p:nvPr>
        </p:nvSpPr>
        <p:spPr>
          <a:xfrm>
            <a:off x="5871005" y="1087818"/>
            <a:ext cx="3021068" cy="2232000"/>
          </a:xfrm>
          <a:custGeom>
            <a:avLst/>
            <a:gdLst>
              <a:gd name="connsiteX0" fmla="*/ 783741 w 3664734"/>
              <a:gd name="connsiteY0" fmla="*/ 0 h 2489542"/>
              <a:gd name="connsiteX1" fmla="*/ 2943299 w 3664734"/>
              <a:gd name="connsiteY1" fmla="*/ 4182 h 2489542"/>
              <a:gd name="connsiteX2" fmla="*/ 2943299 w 3664734"/>
              <a:gd name="connsiteY2" fmla="*/ 4190 h 2489542"/>
              <a:gd name="connsiteX3" fmla="*/ 2973748 w 3664734"/>
              <a:gd name="connsiteY3" fmla="*/ 3542 h 2489542"/>
              <a:gd name="connsiteX4" fmla="*/ 3213318 w 3664734"/>
              <a:gd name="connsiteY4" fmla="*/ 3248 h 2489542"/>
              <a:gd name="connsiteX5" fmla="*/ 3353570 w 3664734"/>
              <a:gd name="connsiteY5" fmla="*/ 989 h 2489542"/>
              <a:gd name="connsiteX6" fmla="*/ 3649646 w 3664734"/>
              <a:gd name="connsiteY6" fmla="*/ 402839 h 2489542"/>
              <a:gd name="connsiteX7" fmla="*/ 3303363 w 3664734"/>
              <a:gd name="connsiteY7" fmla="*/ 2076484 h 2489542"/>
              <a:gd name="connsiteX8" fmla="*/ 2880993 w 3664734"/>
              <a:gd name="connsiteY8" fmla="*/ 2489542 h 2489542"/>
              <a:gd name="connsiteX9" fmla="*/ 721435 w 3664734"/>
              <a:gd name="connsiteY9" fmla="*/ 2485360 h 2489542"/>
              <a:gd name="connsiteX10" fmla="*/ 721435 w 3664734"/>
              <a:gd name="connsiteY10" fmla="*/ 2485352 h 2489542"/>
              <a:gd name="connsiteX11" fmla="*/ 690987 w 3664734"/>
              <a:gd name="connsiteY11" fmla="*/ 2485999 h 2489542"/>
              <a:gd name="connsiteX12" fmla="*/ 451416 w 3664734"/>
              <a:gd name="connsiteY12" fmla="*/ 2486294 h 2489542"/>
              <a:gd name="connsiteX13" fmla="*/ 311164 w 3664734"/>
              <a:gd name="connsiteY13" fmla="*/ 2488553 h 2489542"/>
              <a:gd name="connsiteX14" fmla="*/ 15088 w 3664734"/>
              <a:gd name="connsiteY14" fmla="*/ 2086703 h 2489542"/>
              <a:gd name="connsiteX15" fmla="*/ 361371 w 3664734"/>
              <a:gd name="connsiteY15" fmla="*/ 413058 h 2489542"/>
              <a:gd name="connsiteX16" fmla="*/ 783741 w 3664734"/>
              <a:gd name="connsiteY16" fmla="*/ 0 h 248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64734" h="2489542">
                <a:moveTo>
                  <a:pt x="783741" y="0"/>
                </a:moveTo>
                <a:lnTo>
                  <a:pt x="2943299" y="4182"/>
                </a:lnTo>
                <a:lnTo>
                  <a:pt x="2943299" y="4190"/>
                </a:lnTo>
                <a:lnTo>
                  <a:pt x="2973748" y="3542"/>
                </a:lnTo>
                <a:cubicBezTo>
                  <a:pt x="3130753" y="134"/>
                  <a:pt x="2914154" y="3898"/>
                  <a:pt x="3213318" y="3248"/>
                </a:cubicBezTo>
                <a:cubicBezTo>
                  <a:pt x="3265269" y="-121"/>
                  <a:pt x="3311880" y="-858"/>
                  <a:pt x="3353570" y="989"/>
                </a:cubicBezTo>
                <a:cubicBezTo>
                  <a:pt x="3645400" y="13916"/>
                  <a:pt x="3696116" y="153448"/>
                  <a:pt x="3649646" y="402839"/>
                </a:cubicBezTo>
                <a:lnTo>
                  <a:pt x="3303363" y="2076484"/>
                </a:lnTo>
                <a:cubicBezTo>
                  <a:pt x="3272714" y="2319233"/>
                  <a:pt x="3104106" y="2489542"/>
                  <a:pt x="2880993" y="2489542"/>
                </a:cubicBezTo>
                <a:lnTo>
                  <a:pt x="721435" y="2485360"/>
                </a:lnTo>
                <a:lnTo>
                  <a:pt x="721435" y="2485352"/>
                </a:lnTo>
                <a:lnTo>
                  <a:pt x="690987" y="2485999"/>
                </a:lnTo>
                <a:cubicBezTo>
                  <a:pt x="533981" y="2489407"/>
                  <a:pt x="750580" y="2485644"/>
                  <a:pt x="451416" y="2486294"/>
                </a:cubicBezTo>
                <a:cubicBezTo>
                  <a:pt x="399465" y="2489663"/>
                  <a:pt x="352854" y="2490400"/>
                  <a:pt x="311164" y="2488553"/>
                </a:cubicBezTo>
                <a:cubicBezTo>
                  <a:pt x="19334" y="2475626"/>
                  <a:pt x="-31382" y="2336094"/>
                  <a:pt x="15088" y="2086703"/>
                </a:cubicBezTo>
                <a:lnTo>
                  <a:pt x="361371" y="413058"/>
                </a:lnTo>
                <a:cubicBezTo>
                  <a:pt x="392020" y="170309"/>
                  <a:pt x="560628" y="0"/>
                  <a:pt x="783741" y="0"/>
                </a:cubicBezTo>
                <a:close/>
              </a:path>
            </a:pathLst>
          </a:custGeom>
        </p:spPr>
        <p:txBody>
          <a:bodyPr wrap="square" anchor="ctr">
            <a:noAutofit/>
          </a:bodyPr>
          <a:lstStyle>
            <a:lvl1pPr marL="684000" indent="-360000">
              <a:lnSpc>
                <a:spcPct val="100000"/>
              </a:lnSpc>
              <a:spcBef>
                <a:spcPts val="600"/>
              </a:spcBef>
              <a:spcAft>
                <a:spcPts val="600"/>
              </a:spcAft>
              <a:buNone/>
              <a:defRPr/>
            </a:lvl1pPr>
          </a:lstStyle>
          <a:p>
            <a:r>
              <a:rPr lang="en-US" noProof="0" dirty="0"/>
              <a:t>Click to add picture</a:t>
            </a:r>
          </a:p>
          <a:p>
            <a:endParaRPr lang="en-US" noProof="0" dirty="0"/>
          </a:p>
        </p:txBody>
      </p:sp>
      <p:sp>
        <p:nvSpPr>
          <p:cNvPr id="15" name="Textplatzhalter 3"/>
          <p:cNvSpPr>
            <a:spLocks noGrp="1"/>
          </p:cNvSpPr>
          <p:nvPr>
            <p:ph type="body" sz="quarter" idx="24" hasCustomPrompt="1"/>
          </p:nvPr>
        </p:nvSpPr>
        <p:spPr>
          <a:xfrm>
            <a:off x="3060919" y="3379414"/>
            <a:ext cx="2682000" cy="1261484"/>
          </a:xfrm>
          <a:prstGeom prst="rect">
            <a:avLst/>
          </a:prstGeom>
        </p:spPr>
        <p:txBody>
          <a:bodyPr/>
          <a:lstStyle>
            <a:lvl1pPr marL="0" marR="0" indent="0" algn="ctr" defTabSz="685800" rtl="0" eaLnBrk="1" fontAlgn="auto" latinLnBrk="0" hangingPunct="1">
              <a:lnSpc>
                <a:spcPct val="100000"/>
              </a:lnSpc>
              <a:spcBef>
                <a:spcPts val="0"/>
              </a:spcBef>
              <a:spcAft>
                <a:spcPts val="600"/>
              </a:spcAft>
              <a:buClrTx/>
              <a:buSzTx/>
              <a:buFontTx/>
              <a:buNone/>
              <a:tabLst/>
              <a:defRPr sz="1600"/>
            </a:lvl1pPr>
          </a:lstStyle>
          <a:p>
            <a:pPr marL="0" marR="0" lvl="0" indent="0" algn="ctr" defTabSz="685800" rtl="0" eaLnBrk="1" fontAlgn="auto" latinLnBrk="0" hangingPunct="1">
              <a:lnSpc>
                <a:spcPct val="100000"/>
              </a:lnSpc>
              <a:spcBef>
                <a:spcPts val="0"/>
              </a:spcBef>
              <a:spcAft>
                <a:spcPts val="600"/>
              </a:spcAft>
              <a:buClrTx/>
              <a:buSzTx/>
              <a:buFontTx/>
              <a:buNone/>
              <a:tabLst/>
              <a:defRPr/>
            </a:pPr>
            <a:r>
              <a:rPr lang="en-US" noProof="0" dirty="0"/>
              <a:t>Click to add text</a:t>
            </a:r>
          </a:p>
        </p:txBody>
      </p:sp>
      <p:sp>
        <p:nvSpPr>
          <p:cNvPr id="16" name="Textplatzhalter 3"/>
          <p:cNvSpPr>
            <a:spLocks noGrp="1"/>
          </p:cNvSpPr>
          <p:nvPr>
            <p:ph type="body" sz="quarter" idx="25" hasCustomPrompt="1"/>
          </p:nvPr>
        </p:nvSpPr>
        <p:spPr>
          <a:xfrm>
            <a:off x="5871004" y="3379414"/>
            <a:ext cx="2682000" cy="1261484"/>
          </a:xfrm>
          <a:prstGeom prst="rect">
            <a:avLst/>
          </a:prstGeom>
        </p:spPr>
        <p:txBody>
          <a:bodyPr/>
          <a:lstStyle>
            <a:lvl1pPr marL="0" marR="0" indent="0" algn="ctr" defTabSz="685800" rtl="0" eaLnBrk="1" fontAlgn="auto" latinLnBrk="0" hangingPunct="1">
              <a:lnSpc>
                <a:spcPct val="100000"/>
              </a:lnSpc>
              <a:spcBef>
                <a:spcPts val="0"/>
              </a:spcBef>
              <a:spcAft>
                <a:spcPts val="600"/>
              </a:spcAft>
              <a:buClrTx/>
              <a:buSzTx/>
              <a:buFontTx/>
              <a:buNone/>
              <a:tabLst/>
              <a:defRPr sz="1600"/>
            </a:lvl1pPr>
          </a:lstStyle>
          <a:p>
            <a:pPr marL="0" marR="0" lvl="0" indent="0" algn="ctr" defTabSz="685800" rtl="0" eaLnBrk="1" fontAlgn="auto" latinLnBrk="0" hangingPunct="1">
              <a:lnSpc>
                <a:spcPct val="100000"/>
              </a:lnSpc>
              <a:spcBef>
                <a:spcPts val="0"/>
              </a:spcBef>
              <a:spcAft>
                <a:spcPts val="600"/>
              </a:spcAft>
              <a:buClrTx/>
              <a:buSzTx/>
              <a:buFontTx/>
              <a:buNone/>
              <a:tabLst/>
              <a:defRPr/>
            </a:pPr>
            <a:r>
              <a:rPr lang="en-US" noProof="0" dirty="0"/>
              <a:t>Click to add text</a:t>
            </a:r>
          </a:p>
        </p:txBody>
      </p:sp>
      <p:sp>
        <p:nvSpPr>
          <p:cNvPr id="5" name="Titel 4"/>
          <p:cNvSpPr>
            <a:spLocks noGrp="1"/>
          </p:cNvSpPr>
          <p:nvPr>
            <p:ph type="title" hasCustomPrompt="1"/>
          </p:nvPr>
        </p:nvSpPr>
        <p:spPr/>
        <p:txBody>
          <a:bodyPr/>
          <a:lstStyle>
            <a:lvl1pPr>
              <a:defRPr/>
            </a:lvl1pPr>
          </a:lstStyle>
          <a:p>
            <a:r>
              <a:rPr lang="en-US" noProof="0" dirty="0"/>
              <a:t>Click to add title</a:t>
            </a:r>
          </a:p>
        </p:txBody>
      </p:sp>
      <p:sp>
        <p:nvSpPr>
          <p:cNvPr id="3" name="Datumsplatzhalter 2"/>
          <p:cNvSpPr>
            <a:spLocks noGrp="1"/>
          </p:cNvSpPr>
          <p:nvPr>
            <p:ph type="dt" sz="half" idx="26"/>
          </p:nvPr>
        </p:nvSpPr>
        <p:spPr/>
        <p:txBody>
          <a:bodyPr/>
          <a:lstStyle/>
          <a:p>
            <a:r>
              <a:rPr lang="de-DE" noProof="0" dirty="0"/>
              <a:t>© 2017</a:t>
            </a:r>
            <a:endParaRPr lang="en-US" noProof="0" dirty="0"/>
          </a:p>
        </p:txBody>
      </p:sp>
    </p:spTree>
    <p:extLst>
      <p:ext uri="{BB962C8B-B14F-4D97-AF65-F5344CB8AC3E}">
        <p14:creationId xmlns:p14="http://schemas.microsoft.com/office/powerpoint/2010/main" val="19626242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Click to add title</a:t>
            </a:r>
          </a:p>
        </p:txBody>
      </p:sp>
      <p:sp>
        <p:nvSpPr>
          <p:cNvPr id="3" name="Fußzeilenplatzhalter 2"/>
          <p:cNvSpPr>
            <a:spLocks noGrp="1"/>
          </p:cNvSpPr>
          <p:nvPr>
            <p:ph type="ftr" sz="quarter" idx="10"/>
          </p:nvPr>
        </p:nvSpPr>
        <p:spPr/>
        <p:txBody>
          <a:bodyPr/>
          <a:lstStyle/>
          <a:p>
            <a:r>
              <a:rPr lang="en-US" noProof="0" dirty="0"/>
              <a:t>Editable name of event</a:t>
            </a:r>
          </a:p>
        </p:txBody>
      </p:sp>
      <p:sp>
        <p:nvSpPr>
          <p:cNvPr id="5" name="Tabellenplatzhalter 4"/>
          <p:cNvSpPr>
            <a:spLocks noGrp="1"/>
          </p:cNvSpPr>
          <p:nvPr>
            <p:ph type="tbl" sz="quarter" idx="11" hasCustomPrompt="1"/>
          </p:nvPr>
        </p:nvSpPr>
        <p:spPr>
          <a:xfrm>
            <a:off x="250825" y="915989"/>
            <a:ext cx="8640763" cy="3816350"/>
          </a:xfrm>
          <a:prstGeom prst="rect">
            <a:avLst/>
          </a:prstGeom>
        </p:spPr>
        <p:txBody>
          <a:bodyPr/>
          <a:lstStyle>
            <a:lvl1pPr marL="0" indent="0">
              <a:buNone/>
              <a:defRPr/>
            </a:lvl1pPr>
          </a:lstStyle>
          <a:p>
            <a:r>
              <a:rPr lang="en-US" noProof="0" dirty="0"/>
              <a:t>Click to add table</a:t>
            </a:r>
          </a:p>
        </p:txBody>
      </p:sp>
      <p:sp>
        <p:nvSpPr>
          <p:cNvPr id="4" name="Datumsplatzhalter 3"/>
          <p:cNvSpPr>
            <a:spLocks noGrp="1"/>
          </p:cNvSpPr>
          <p:nvPr>
            <p:ph type="dt" sz="half" idx="12"/>
          </p:nvPr>
        </p:nvSpPr>
        <p:spPr/>
        <p:txBody>
          <a:bodyPr/>
          <a:lstStyle/>
          <a:p>
            <a:r>
              <a:rPr lang="de-DE" noProof="0" dirty="0"/>
              <a:t>© 2017</a:t>
            </a:r>
            <a:endParaRPr lang="en-US" noProof="0" dirty="0"/>
          </a:p>
        </p:txBody>
      </p:sp>
    </p:spTree>
    <p:extLst>
      <p:ext uri="{BB962C8B-B14F-4D97-AF65-F5344CB8AC3E}">
        <p14:creationId xmlns:p14="http://schemas.microsoft.com/office/powerpoint/2010/main" val="40738361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Click to add title</a:t>
            </a:r>
          </a:p>
        </p:txBody>
      </p:sp>
      <p:sp>
        <p:nvSpPr>
          <p:cNvPr id="3" name="Fußzeilenplatzhalter 2"/>
          <p:cNvSpPr>
            <a:spLocks noGrp="1"/>
          </p:cNvSpPr>
          <p:nvPr>
            <p:ph type="ftr" sz="quarter" idx="10"/>
          </p:nvPr>
        </p:nvSpPr>
        <p:spPr/>
        <p:txBody>
          <a:bodyPr/>
          <a:lstStyle/>
          <a:p>
            <a:r>
              <a:rPr lang="en-US" noProof="0" dirty="0"/>
              <a:t>Editable name of event</a:t>
            </a:r>
          </a:p>
        </p:txBody>
      </p:sp>
      <p:sp>
        <p:nvSpPr>
          <p:cNvPr id="5" name="Diagrammplatzhalter 4"/>
          <p:cNvSpPr>
            <a:spLocks noGrp="1"/>
          </p:cNvSpPr>
          <p:nvPr>
            <p:ph type="chart" sz="quarter" idx="11" hasCustomPrompt="1"/>
          </p:nvPr>
        </p:nvSpPr>
        <p:spPr>
          <a:xfrm>
            <a:off x="250825" y="915989"/>
            <a:ext cx="8642350" cy="3816350"/>
          </a:xfrm>
          <a:prstGeom prst="rect">
            <a:avLst/>
          </a:prstGeom>
        </p:spPr>
        <p:txBody>
          <a:bodyPr/>
          <a:lstStyle>
            <a:lvl1pPr marL="0" indent="0">
              <a:buNone/>
              <a:defRPr baseline="0"/>
            </a:lvl1pPr>
          </a:lstStyle>
          <a:p>
            <a:r>
              <a:rPr lang="en-US" noProof="0" dirty="0"/>
              <a:t>Click to add chart</a:t>
            </a:r>
          </a:p>
        </p:txBody>
      </p:sp>
      <p:sp>
        <p:nvSpPr>
          <p:cNvPr id="4" name="Datumsplatzhalter 3"/>
          <p:cNvSpPr>
            <a:spLocks noGrp="1"/>
          </p:cNvSpPr>
          <p:nvPr>
            <p:ph type="dt" sz="half" idx="12"/>
          </p:nvPr>
        </p:nvSpPr>
        <p:spPr/>
        <p:txBody>
          <a:bodyPr/>
          <a:lstStyle/>
          <a:p>
            <a:r>
              <a:rPr lang="de-DE" noProof="0" dirty="0"/>
              <a:t>© 2017</a:t>
            </a:r>
            <a:endParaRPr lang="en-US" noProof="0" dirty="0"/>
          </a:p>
        </p:txBody>
      </p:sp>
    </p:spTree>
    <p:extLst>
      <p:ext uri="{BB962C8B-B14F-4D97-AF65-F5344CB8AC3E}">
        <p14:creationId xmlns:p14="http://schemas.microsoft.com/office/powerpoint/2010/main" val="38587646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en-US" noProof="0" dirty="0"/>
              <a:t>Editable name of event</a:t>
            </a:r>
          </a:p>
        </p:txBody>
      </p:sp>
      <p:sp>
        <p:nvSpPr>
          <p:cNvPr id="8" name="Foliennummernplatzhalter 1"/>
          <p:cNvSpPr txBox="1">
            <a:spLocks/>
          </p:cNvSpPr>
          <p:nvPr userDrawn="1"/>
        </p:nvSpPr>
        <p:spPr>
          <a:xfrm>
            <a:off x="8408119" y="4818324"/>
            <a:ext cx="536121" cy="264684"/>
          </a:xfrm>
          <a:prstGeom prst="rect">
            <a:avLst/>
          </a:prstGeom>
        </p:spPr>
        <p:txBody>
          <a:bodyPr vert="horz" lIns="91440" tIns="45720" rIns="91440" bIns="45720" rtlCol="0" anchor="ctr"/>
          <a:lstStyle>
            <a:defPPr>
              <a:defRPr lang="de-DE"/>
            </a:defPPr>
            <a:lvl1pPr marL="0" algn="r" defTabSz="713232" rtl="0" eaLnBrk="1" latinLnBrk="0" hangingPunct="1">
              <a:defRPr sz="1200" kern="1200">
                <a:solidFill>
                  <a:schemeClr val="bg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a:lstStyle>
          <a:p>
            <a:fld id="{F0B876DB-ED65-473E-9C95-7A5D374C8C64}" type="slidenum">
              <a:rPr lang="en-US" noProof="0" smtClean="0"/>
              <a:pPr/>
              <a:t>‹#›</a:t>
            </a:fld>
            <a:endParaRPr lang="en-US" noProof="0" dirty="0"/>
          </a:p>
        </p:txBody>
      </p:sp>
      <p:sp>
        <p:nvSpPr>
          <p:cNvPr id="2" name="Datumsplatzhalter 1"/>
          <p:cNvSpPr>
            <a:spLocks noGrp="1"/>
          </p:cNvSpPr>
          <p:nvPr>
            <p:ph type="dt" sz="half" idx="11"/>
          </p:nvPr>
        </p:nvSpPr>
        <p:spPr/>
        <p:txBody>
          <a:bodyPr/>
          <a:lstStyle/>
          <a:p>
            <a:r>
              <a:rPr lang="de-DE" noProof="0" dirty="0"/>
              <a:t>© 2017</a:t>
            </a:r>
            <a:endParaRPr lang="en-US" noProof="0" dirty="0"/>
          </a:p>
        </p:txBody>
      </p:sp>
      <p:sp>
        <p:nvSpPr>
          <p:cNvPr id="9" name="Titel 8"/>
          <p:cNvSpPr>
            <a:spLocks noGrp="1"/>
          </p:cNvSpPr>
          <p:nvPr>
            <p:ph type="title" hasCustomPrompt="1"/>
          </p:nvPr>
        </p:nvSpPr>
        <p:spPr/>
        <p:txBody>
          <a:bodyPr/>
          <a:lstStyle>
            <a:lvl1pPr>
              <a:defRPr/>
            </a:lvl1pPr>
          </a:lstStyle>
          <a:p>
            <a:r>
              <a:rPr lang="en-US" noProof="0" dirty="0"/>
              <a:t>Click to add title</a:t>
            </a:r>
          </a:p>
        </p:txBody>
      </p:sp>
    </p:spTree>
    <p:extLst>
      <p:ext uri="{BB962C8B-B14F-4D97-AF65-F5344CB8AC3E}">
        <p14:creationId xmlns:p14="http://schemas.microsoft.com/office/powerpoint/2010/main" val="34229832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up to 7 items">
    <p:spTree>
      <p:nvGrpSpPr>
        <p:cNvPr id="1" name=""/>
        <p:cNvGrpSpPr/>
        <p:nvPr/>
      </p:nvGrpSpPr>
      <p:grpSpPr>
        <a:xfrm>
          <a:off x="0" y="0"/>
          <a:ext cx="0" cy="0"/>
          <a:chOff x="0" y="0"/>
          <a:chExt cx="0" cy="0"/>
        </a:xfrm>
      </p:grpSpPr>
      <p:sp>
        <p:nvSpPr>
          <p:cNvPr id="67" name="Textplatzhalter 66"/>
          <p:cNvSpPr>
            <a:spLocks noGrp="1"/>
          </p:cNvSpPr>
          <p:nvPr userDrawn="1">
            <p:ph type="body" sz="quarter" idx="26" hasCustomPrompt="1"/>
          </p:nvPr>
        </p:nvSpPr>
        <p:spPr>
          <a:xfrm>
            <a:off x="706800" y="1038400"/>
            <a:ext cx="6937610"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indent="0">
              <a:buNone/>
              <a:defRPr sz="1800"/>
            </a:lvl1pPr>
          </a:lstStyle>
          <a:p>
            <a:pPr lvl="0"/>
            <a:r>
              <a:rPr lang="en-US" noProof="0" dirty="0"/>
              <a:t>Click to add agenda item</a:t>
            </a:r>
          </a:p>
        </p:txBody>
      </p:sp>
      <p:sp>
        <p:nvSpPr>
          <p:cNvPr id="68" name="Textplatzhalter 67"/>
          <p:cNvSpPr>
            <a:spLocks noGrp="1"/>
          </p:cNvSpPr>
          <p:nvPr userDrawn="1">
            <p:ph type="body" sz="quarter" idx="27" hasCustomPrompt="1"/>
          </p:nvPr>
        </p:nvSpPr>
        <p:spPr>
          <a:xfrm>
            <a:off x="259801" y="1038400"/>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62" name="Foliennummernplatzhalter 1"/>
          <p:cNvSpPr txBox="1">
            <a:spLocks/>
          </p:cNvSpPr>
          <p:nvPr userDrawn="1"/>
        </p:nvSpPr>
        <p:spPr>
          <a:xfrm>
            <a:off x="8408119" y="4818324"/>
            <a:ext cx="536121" cy="264684"/>
          </a:xfrm>
          <a:prstGeom prst="rect">
            <a:avLst/>
          </a:prstGeom>
        </p:spPr>
        <p:txBody>
          <a:bodyPr vert="horz" lIns="91440" tIns="45720" rIns="91440" bIns="45720" rtlCol="0" anchor="ctr"/>
          <a:lstStyle>
            <a:defPPr>
              <a:defRPr lang="de-DE"/>
            </a:defPPr>
            <a:lvl1pPr marL="0" algn="r" defTabSz="713232" rtl="0" eaLnBrk="1" latinLnBrk="0" hangingPunct="1">
              <a:defRPr sz="1200" kern="1200">
                <a:solidFill>
                  <a:schemeClr val="bg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a:lstStyle>
          <a:p>
            <a:fld id="{F0B876DB-ED65-473E-9C95-7A5D374C8C64}" type="slidenum">
              <a:rPr lang="en-US" noProof="0" smtClean="0"/>
              <a:pPr/>
              <a:t>‹#›</a:t>
            </a:fld>
            <a:endParaRPr lang="en-US" noProof="0" dirty="0"/>
          </a:p>
        </p:txBody>
      </p:sp>
      <p:sp>
        <p:nvSpPr>
          <p:cNvPr id="69" name="Textplatzhalter 68"/>
          <p:cNvSpPr>
            <a:spLocks noGrp="1"/>
          </p:cNvSpPr>
          <p:nvPr>
            <p:ph type="body" sz="quarter" idx="34" hasCustomPrompt="1"/>
          </p:nvPr>
        </p:nvSpPr>
        <p:spPr>
          <a:xfrm>
            <a:off x="706799" y="1572076"/>
            <a:ext cx="6937610"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en-US" noProof="0" dirty="0"/>
              <a:t>Click to add agenda item</a:t>
            </a:r>
          </a:p>
        </p:txBody>
      </p:sp>
      <p:sp>
        <p:nvSpPr>
          <p:cNvPr id="70" name="Textplatzhalter 69"/>
          <p:cNvSpPr>
            <a:spLocks noGrp="1"/>
          </p:cNvSpPr>
          <p:nvPr>
            <p:ph type="body" sz="quarter" idx="35" hasCustomPrompt="1"/>
          </p:nvPr>
        </p:nvSpPr>
        <p:spPr>
          <a:xfrm>
            <a:off x="259800" y="1572076"/>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71" name="Textplatzhalter 70"/>
          <p:cNvSpPr>
            <a:spLocks noGrp="1"/>
          </p:cNvSpPr>
          <p:nvPr>
            <p:ph type="body" sz="quarter" idx="36" hasCustomPrompt="1"/>
          </p:nvPr>
        </p:nvSpPr>
        <p:spPr>
          <a:xfrm>
            <a:off x="706798" y="2105752"/>
            <a:ext cx="6937610"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en-US" noProof="0" dirty="0"/>
              <a:t>Click to add agenda item</a:t>
            </a:r>
          </a:p>
        </p:txBody>
      </p:sp>
      <p:sp>
        <p:nvSpPr>
          <p:cNvPr id="72" name="Textplatzhalter 71"/>
          <p:cNvSpPr>
            <a:spLocks noGrp="1"/>
          </p:cNvSpPr>
          <p:nvPr>
            <p:ph type="body" sz="quarter" idx="37" hasCustomPrompt="1"/>
          </p:nvPr>
        </p:nvSpPr>
        <p:spPr>
          <a:xfrm>
            <a:off x="259799" y="2105752"/>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73" name="Textplatzhalter 72"/>
          <p:cNvSpPr>
            <a:spLocks noGrp="1"/>
          </p:cNvSpPr>
          <p:nvPr>
            <p:ph type="body" sz="quarter" idx="38" hasCustomPrompt="1"/>
          </p:nvPr>
        </p:nvSpPr>
        <p:spPr>
          <a:xfrm>
            <a:off x="706797" y="2639428"/>
            <a:ext cx="6937610"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en-US" noProof="0" dirty="0"/>
              <a:t>Click to add agenda item</a:t>
            </a:r>
          </a:p>
        </p:txBody>
      </p:sp>
      <p:sp>
        <p:nvSpPr>
          <p:cNvPr id="74" name="Textplatzhalter 73"/>
          <p:cNvSpPr>
            <a:spLocks noGrp="1"/>
          </p:cNvSpPr>
          <p:nvPr>
            <p:ph type="body" sz="quarter" idx="39" hasCustomPrompt="1"/>
          </p:nvPr>
        </p:nvSpPr>
        <p:spPr>
          <a:xfrm>
            <a:off x="259798" y="2639428"/>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75" name="Textplatzhalter 74"/>
          <p:cNvSpPr>
            <a:spLocks noGrp="1"/>
          </p:cNvSpPr>
          <p:nvPr>
            <p:ph type="body" sz="quarter" idx="40" hasCustomPrompt="1"/>
          </p:nvPr>
        </p:nvSpPr>
        <p:spPr>
          <a:xfrm>
            <a:off x="706796" y="3173104"/>
            <a:ext cx="6937610"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en-US" noProof="0" dirty="0"/>
              <a:t>Click to add agenda item</a:t>
            </a:r>
          </a:p>
        </p:txBody>
      </p:sp>
      <p:sp>
        <p:nvSpPr>
          <p:cNvPr id="76" name="Textplatzhalter 75"/>
          <p:cNvSpPr>
            <a:spLocks noGrp="1"/>
          </p:cNvSpPr>
          <p:nvPr>
            <p:ph type="body" sz="quarter" idx="41" hasCustomPrompt="1"/>
          </p:nvPr>
        </p:nvSpPr>
        <p:spPr>
          <a:xfrm>
            <a:off x="259797" y="3173104"/>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77" name="Textplatzhalter 76"/>
          <p:cNvSpPr>
            <a:spLocks noGrp="1"/>
          </p:cNvSpPr>
          <p:nvPr>
            <p:ph type="body" sz="quarter" idx="42" hasCustomPrompt="1"/>
          </p:nvPr>
        </p:nvSpPr>
        <p:spPr>
          <a:xfrm>
            <a:off x="706795" y="3706780"/>
            <a:ext cx="6937610"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en-US" noProof="0" dirty="0"/>
              <a:t>Click to add agenda item</a:t>
            </a:r>
          </a:p>
        </p:txBody>
      </p:sp>
      <p:sp>
        <p:nvSpPr>
          <p:cNvPr id="78" name="Textplatzhalter 77"/>
          <p:cNvSpPr>
            <a:spLocks noGrp="1"/>
          </p:cNvSpPr>
          <p:nvPr>
            <p:ph type="body" sz="quarter" idx="43" hasCustomPrompt="1"/>
          </p:nvPr>
        </p:nvSpPr>
        <p:spPr>
          <a:xfrm>
            <a:off x="259796" y="3706780"/>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79" name="Textplatzhalter 78"/>
          <p:cNvSpPr>
            <a:spLocks noGrp="1"/>
          </p:cNvSpPr>
          <p:nvPr>
            <p:ph type="body" sz="quarter" idx="44" hasCustomPrompt="1"/>
          </p:nvPr>
        </p:nvSpPr>
        <p:spPr>
          <a:xfrm>
            <a:off x="699896" y="4240453"/>
            <a:ext cx="6937610"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en-US" noProof="0" dirty="0"/>
              <a:t>Click to add agenda item</a:t>
            </a:r>
          </a:p>
        </p:txBody>
      </p:sp>
      <p:sp>
        <p:nvSpPr>
          <p:cNvPr id="80" name="Textplatzhalter 79"/>
          <p:cNvSpPr>
            <a:spLocks noGrp="1"/>
          </p:cNvSpPr>
          <p:nvPr>
            <p:ph type="body" sz="quarter" idx="45" hasCustomPrompt="1"/>
          </p:nvPr>
        </p:nvSpPr>
        <p:spPr>
          <a:xfrm>
            <a:off x="252897" y="4240453"/>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2" name="Datumsplatzhalter 1"/>
          <p:cNvSpPr>
            <a:spLocks noGrp="1"/>
          </p:cNvSpPr>
          <p:nvPr>
            <p:ph type="dt" sz="half" idx="46"/>
          </p:nvPr>
        </p:nvSpPr>
        <p:spPr/>
        <p:txBody>
          <a:bodyPr/>
          <a:lstStyle/>
          <a:p>
            <a:r>
              <a:rPr lang="de-DE" dirty="0"/>
              <a:t>© 2022 PI UK and Control Specialists Ltd</a:t>
            </a:r>
            <a:endParaRPr lang="en-US" dirty="0"/>
          </a:p>
        </p:txBody>
      </p:sp>
      <p:sp>
        <p:nvSpPr>
          <p:cNvPr id="5" name="Titel 4"/>
          <p:cNvSpPr>
            <a:spLocks noGrp="1"/>
          </p:cNvSpPr>
          <p:nvPr>
            <p:ph type="title" hasCustomPrompt="1"/>
          </p:nvPr>
        </p:nvSpPr>
        <p:spPr/>
        <p:txBody>
          <a:bodyPr/>
          <a:lstStyle>
            <a:lvl1pPr>
              <a:defRPr/>
            </a:lvl1pPr>
          </a:lstStyle>
          <a:p>
            <a:r>
              <a:rPr lang="en-US" noProof="0" dirty="0"/>
              <a:t>Click to add title</a:t>
            </a:r>
          </a:p>
        </p:txBody>
      </p:sp>
      <p:sp>
        <p:nvSpPr>
          <p:cNvPr id="20" name="Footer Placeholder 4"/>
          <p:cNvSpPr>
            <a:spLocks noGrp="1"/>
          </p:cNvSpPr>
          <p:nvPr>
            <p:ph type="ftr" sz="quarter" idx="3"/>
          </p:nvPr>
        </p:nvSpPr>
        <p:spPr>
          <a:xfrm>
            <a:off x="250833" y="4830260"/>
            <a:ext cx="2873367" cy="236464"/>
          </a:xfrm>
          <a:prstGeom prst="rect">
            <a:avLst/>
          </a:prstGeom>
        </p:spPr>
        <p:txBody>
          <a:bodyPr vert="horz" lIns="91440" tIns="45720" rIns="91440" bIns="45720" rtlCol="0" anchor="ctr">
            <a:noAutofit/>
          </a:bodyPr>
          <a:lstStyle>
            <a:lvl1pPr algn="l">
              <a:defRPr sz="900">
                <a:solidFill>
                  <a:schemeClr val="tx1">
                    <a:tint val="75000"/>
                  </a:schemeClr>
                </a:solidFill>
              </a:defRPr>
            </a:lvl1pPr>
          </a:lstStyle>
          <a:p>
            <a:r>
              <a:rPr lang="en-US" dirty="0"/>
              <a:t>PI UK – Glasgow Seminar – April 2022</a:t>
            </a:r>
          </a:p>
        </p:txBody>
      </p:sp>
    </p:spTree>
    <p:extLst>
      <p:ext uri="{BB962C8B-B14F-4D97-AF65-F5344CB8AC3E}">
        <p14:creationId xmlns:p14="http://schemas.microsoft.com/office/powerpoint/2010/main" val="22348074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 Corporate Desig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PI Corporate Design</a:t>
            </a:r>
          </a:p>
        </p:txBody>
      </p:sp>
      <p:sp>
        <p:nvSpPr>
          <p:cNvPr id="3" name="Fußzeilenplatzhalter 2"/>
          <p:cNvSpPr>
            <a:spLocks noGrp="1"/>
          </p:cNvSpPr>
          <p:nvPr>
            <p:ph type="ftr" sz="quarter" idx="10"/>
          </p:nvPr>
        </p:nvSpPr>
        <p:spPr/>
        <p:txBody>
          <a:bodyPr/>
          <a:lstStyle/>
          <a:p>
            <a:r>
              <a:rPr lang="en-US" noProof="0" dirty="0"/>
              <a:t>Editable name of event</a:t>
            </a:r>
          </a:p>
        </p:txBody>
      </p:sp>
      <p:sp>
        <p:nvSpPr>
          <p:cNvPr id="4" name="AutoShape 6"/>
          <p:cNvSpPr>
            <a:spLocks noChangeArrowheads="1"/>
          </p:cNvSpPr>
          <p:nvPr userDrawn="1"/>
        </p:nvSpPr>
        <p:spPr bwMode="auto">
          <a:xfrm>
            <a:off x="882650" y="1084660"/>
            <a:ext cx="1258888" cy="472678"/>
          </a:xfrm>
          <a:prstGeom prst="parallelogram">
            <a:avLst>
              <a:gd name="adj" fmla="val 21140"/>
            </a:avLst>
          </a:prstGeom>
          <a:solidFill>
            <a:srgbClr val="2CA67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r>
              <a:rPr lang="en-US" altLang="de-DE" sz="1400" noProof="0" dirty="0">
                <a:solidFill>
                  <a:schemeClr val="bg1"/>
                </a:solidFill>
              </a:rPr>
              <a:t>PI Green</a:t>
            </a:r>
          </a:p>
        </p:txBody>
      </p:sp>
      <p:sp>
        <p:nvSpPr>
          <p:cNvPr id="5" name="AutoShape 11"/>
          <p:cNvSpPr>
            <a:spLocks noChangeArrowheads="1"/>
          </p:cNvSpPr>
          <p:nvPr userDrawn="1"/>
        </p:nvSpPr>
        <p:spPr bwMode="auto">
          <a:xfrm>
            <a:off x="2106614" y="1084660"/>
            <a:ext cx="1258887" cy="472678"/>
          </a:xfrm>
          <a:prstGeom prst="parallelogram">
            <a:avLst>
              <a:gd name="adj" fmla="val 21140"/>
            </a:avLst>
          </a:prstGeom>
          <a:solidFill>
            <a:srgbClr val="52576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r>
              <a:rPr lang="en-US" altLang="de-DE" sz="1400" noProof="0" dirty="0">
                <a:solidFill>
                  <a:schemeClr val="bg1"/>
                </a:solidFill>
              </a:rPr>
              <a:t>PI Grey</a:t>
            </a:r>
          </a:p>
        </p:txBody>
      </p:sp>
      <p:sp>
        <p:nvSpPr>
          <p:cNvPr id="6" name="AutoShape 12"/>
          <p:cNvSpPr>
            <a:spLocks noChangeArrowheads="1"/>
          </p:cNvSpPr>
          <p:nvPr userDrawn="1"/>
        </p:nvSpPr>
        <p:spPr bwMode="auto">
          <a:xfrm>
            <a:off x="3330575" y="1084660"/>
            <a:ext cx="1258888" cy="472678"/>
          </a:xfrm>
          <a:prstGeom prst="parallelogram">
            <a:avLst>
              <a:gd name="adj" fmla="val 21140"/>
            </a:avLst>
          </a:prstGeom>
          <a:solidFill>
            <a:srgbClr val="0064A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r>
              <a:rPr lang="en-US" altLang="de-DE" sz="1400" noProof="0" dirty="0">
                <a:solidFill>
                  <a:schemeClr val="bg1"/>
                </a:solidFill>
              </a:rPr>
              <a:t>PI Blue</a:t>
            </a:r>
          </a:p>
        </p:txBody>
      </p:sp>
      <p:sp>
        <p:nvSpPr>
          <p:cNvPr id="7" name="AutoShape 13"/>
          <p:cNvSpPr>
            <a:spLocks noChangeArrowheads="1"/>
          </p:cNvSpPr>
          <p:nvPr userDrawn="1"/>
        </p:nvSpPr>
        <p:spPr bwMode="auto">
          <a:xfrm>
            <a:off x="4554538" y="1084660"/>
            <a:ext cx="1258887" cy="472678"/>
          </a:xfrm>
          <a:prstGeom prst="parallelogram">
            <a:avLst>
              <a:gd name="adj" fmla="val 21140"/>
            </a:avLst>
          </a:prstGeom>
          <a:solidFill>
            <a:srgbClr val="E2001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r>
              <a:rPr lang="en-US" altLang="de-DE" sz="1400" noProof="0" dirty="0">
                <a:solidFill>
                  <a:schemeClr val="bg1"/>
                </a:solidFill>
              </a:rPr>
              <a:t>PI Red</a:t>
            </a:r>
          </a:p>
        </p:txBody>
      </p:sp>
      <p:sp>
        <p:nvSpPr>
          <p:cNvPr id="8" name="AutoShape 14"/>
          <p:cNvSpPr>
            <a:spLocks noChangeArrowheads="1"/>
          </p:cNvSpPr>
          <p:nvPr userDrawn="1"/>
        </p:nvSpPr>
        <p:spPr bwMode="auto">
          <a:xfrm>
            <a:off x="5778500" y="1084660"/>
            <a:ext cx="1258888" cy="472678"/>
          </a:xfrm>
          <a:prstGeom prst="parallelogram">
            <a:avLst>
              <a:gd name="adj" fmla="val 21140"/>
            </a:avLst>
          </a:prstGeom>
          <a:solidFill>
            <a:srgbClr val="FFDD0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r>
              <a:rPr lang="en-US" altLang="de-DE" sz="1400" noProof="0" dirty="0">
                <a:solidFill>
                  <a:schemeClr val="bg1"/>
                </a:solidFill>
              </a:rPr>
              <a:t>PI Yellow</a:t>
            </a:r>
          </a:p>
        </p:txBody>
      </p:sp>
      <p:sp>
        <p:nvSpPr>
          <p:cNvPr id="9" name="AutoShape 15"/>
          <p:cNvSpPr>
            <a:spLocks noChangeArrowheads="1"/>
          </p:cNvSpPr>
          <p:nvPr userDrawn="1"/>
        </p:nvSpPr>
        <p:spPr bwMode="auto">
          <a:xfrm>
            <a:off x="7002464" y="1084660"/>
            <a:ext cx="1258887" cy="472678"/>
          </a:xfrm>
          <a:prstGeom prst="parallelogram">
            <a:avLst>
              <a:gd name="adj" fmla="val 21140"/>
            </a:avLst>
          </a:prstGeom>
          <a:solidFill>
            <a:srgbClr val="3333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r>
              <a:rPr lang="en-US" altLang="de-DE" sz="1400" noProof="0" dirty="0">
                <a:solidFill>
                  <a:schemeClr val="bg1"/>
                </a:solidFill>
              </a:rPr>
              <a:t>Black</a:t>
            </a:r>
          </a:p>
        </p:txBody>
      </p:sp>
      <p:sp>
        <p:nvSpPr>
          <p:cNvPr id="10" name="Rectangle 16"/>
          <p:cNvSpPr>
            <a:spLocks noChangeArrowheads="1"/>
          </p:cNvSpPr>
          <p:nvPr userDrawn="1"/>
        </p:nvSpPr>
        <p:spPr bwMode="auto">
          <a:xfrm>
            <a:off x="889000" y="159067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44/166/123</a:t>
            </a:r>
          </a:p>
        </p:txBody>
      </p:sp>
      <p:sp>
        <p:nvSpPr>
          <p:cNvPr id="11" name="Rectangle 17"/>
          <p:cNvSpPr>
            <a:spLocks noChangeArrowheads="1"/>
          </p:cNvSpPr>
          <p:nvPr userDrawn="1"/>
        </p:nvSpPr>
        <p:spPr bwMode="auto">
          <a:xfrm>
            <a:off x="2125663" y="159067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82/87/101</a:t>
            </a:r>
          </a:p>
        </p:txBody>
      </p:sp>
      <p:sp>
        <p:nvSpPr>
          <p:cNvPr id="12" name="Rectangle 18"/>
          <p:cNvSpPr>
            <a:spLocks noChangeArrowheads="1"/>
          </p:cNvSpPr>
          <p:nvPr userDrawn="1"/>
        </p:nvSpPr>
        <p:spPr bwMode="auto">
          <a:xfrm>
            <a:off x="3317875" y="159067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0/100/173</a:t>
            </a:r>
          </a:p>
        </p:txBody>
      </p:sp>
      <p:sp>
        <p:nvSpPr>
          <p:cNvPr id="13" name="Rectangle 19"/>
          <p:cNvSpPr>
            <a:spLocks noChangeArrowheads="1"/>
          </p:cNvSpPr>
          <p:nvPr userDrawn="1"/>
        </p:nvSpPr>
        <p:spPr bwMode="auto">
          <a:xfrm>
            <a:off x="4554538" y="159067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26/0/26</a:t>
            </a:r>
          </a:p>
        </p:txBody>
      </p:sp>
      <p:sp>
        <p:nvSpPr>
          <p:cNvPr id="14" name="Rectangle 20"/>
          <p:cNvSpPr>
            <a:spLocks noChangeArrowheads="1"/>
          </p:cNvSpPr>
          <p:nvPr userDrawn="1"/>
        </p:nvSpPr>
        <p:spPr bwMode="auto">
          <a:xfrm>
            <a:off x="5765800" y="159067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55/221/13</a:t>
            </a:r>
          </a:p>
        </p:txBody>
      </p:sp>
      <p:sp>
        <p:nvSpPr>
          <p:cNvPr id="15" name="Rectangle 21"/>
          <p:cNvSpPr>
            <a:spLocks noChangeArrowheads="1"/>
          </p:cNvSpPr>
          <p:nvPr userDrawn="1"/>
        </p:nvSpPr>
        <p:spPr bwMode="auto">
          <a:xfrm>
            <a:off x="7002463" y="159067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51/51/51</a:t>
            </a:r>
          </a:p>
        </p:txBody>
      </p:sp>
      <p:sp>
        <p:nvSpPr>
          <p:cNvPr id="16" name="AutoShape 22"/>
          <p:cNvSpPr>
            <a:spLocks noChangeArrowheads="1"/>
          </p:cNvSpPr>
          <p:nvPr userDrawn="1"/>
        </p:nvSpPr>
        <p:spPr bwMode="auto">
          <a:xfrm>
            <a:off x="882650" y="1794273"/>
            <a:ext cx="1258888" cy="472678"/>
          </a:xfrm>
          <a:prstGeom prst="parallelogram">
            <a:avLst>
              <a:gd name="adj" fmla="val 21140"/>
            </a:avLst>
          </a:prstGeom>
          <a:solidFill>
            <a:srgbClr val="2CA67B">
              <a:alpha val="7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chemeClr val="bg1"/>
                </a:solidFill>
              </a:rPr>
              <a:t>80%</a:t>
            </a:r>
          </a:p>
        </p:txBody>
      </p:sp>
      <p:sp>
        <p:nvSpPr>
          <p:cNvPr id="17" name="AutoShape 23"/>
          <p:cNvSpPr>
            <a:spLocks noChangeArrowheads="1"/>
          </p:cNvSpPr>
          <p:nvPr userDrawn="1"/>
        </p:nvSpPr>
        <p:spPr bwMode="auto">
          <a:xfrm>
            <a:off x="2106614" y="1794273"/>
            <a:ext cx="1258887" cy="472678"/>
          </a:xfrm>
          <a:prstGeom prst="parallelogram">
            <a:avLst>
              <a:gd name="adj" fmla="val 21140"/>
            </a:avLst>
          </a:prstGeom>
          <a:solidFill>
            <a:srgbClr val="525765">
              <a:alpha val="7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chemeClr val="bg1"/>
                </a:solidFill>
              </a:rPr>
              <a:t>80%</a:t>
            </a:r>
          </a:p>
        </p:txBody>
      </p:sp>
      <p:sp>
        <p:nvSpPr>
          <p:cNvPr id="18" name="AutoShape 24"/>
          <p:cNvSpPr>
            <a:spLocks noChangeArrowheads="1"/>
          </p:cNvSpPr>
          <p:nvPr userDrawn="1"/>
        </p:nvSpPr>
        <p:spPr bwMode="auto">
          <a:xfrm>
            <a:off x="3330575" y="1794273"/>
            <a:ext cx="1258888" cy="472678"/>
          </a:xfrm>
          <a:prstGeom prst="parallelogram">
            <a:avLst>
              <a:gd name="adj" fmla="val 21140"/>
            </a:avLst>
          </a:prstGeom>
          <a:solidFill>
            <a:srgbClr val="0064AD">
              <a:alpha val="7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chemeClr val="bg1"/>
                </a:solidFill>
              </a:rPr>
              <a:t>80%</a:t>
            </a:r>
          </a:p>
        </p:txBody>
      </p:sp>
      <p:sp>
        <p:nvSpPr>
          <p:cNvPr id="19" name="AutoShape 25"/>
          <p:cNvSpPr>
            <a:spLocks noChangeArrowheads="1"/>
          </p:cNvSpPr>
          <p:nvPr userDrawn="1"/>
        </p:nvSpPr>
        <p:spPr bwMode="auto">
          <a:xfrm>
            <a:off x="4554538" y="1794273"/>
            <a:ext cx="1258887" cy="472678"/>
          </a:xfrm>
          <a:prstGeom prst="parallelogram">
            <a:avLst>
              <a:gd name="adj" fmla="val 21140"/>
            </a:avLst>
          </a:prstGeom>
          <a:solidFill>
            <a:srgbClr val="E2001A">
              <a:alpha val="7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chemeClr val="bg1"/>
                </a:solidFill>
              </a:rPr>
              <a:t>80%</a:t>
            </a:r>
          </a:p>
        </p:txBody>
      </p:sp>
      <p:sp>
        <p:nvSpPr>
          <p:cNvPr id="20" name="AutoShape 26"/>
          <p:cNvSpPr>
            <a:spLocks noChangeArrowheads="1"/>
          </p:cNvSpPr>
          <p:nvPr userDrawn="1"/>
        </p:nvSpPr>
        <p:spPr bwMode="auto">
          <a:xfrm>
            <a:off x="5778500" y="1794273"/>
            <a:ext cx="1258888" cy="472678"/>
          </a:xfrm>
          <a:prstGeom prst="parallelogram">
            <a:avLst>
              <a:gd name="adj" fmla="val 21140"/>
            </a:avLst>
          </a:prstGeom>
          <a:solidFill>
            <a:srgbClr val="FFDD0D">
              <a:alpha val="7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chemeClr val="bg1"/>
                </a:solidFill>
              </a:rPr>
              <a:t>80%</a:t>
            </a:r>
          </a:p>
        </p:txBody>
      </p:sp>
      <p:sp>
        <p:nvSpPr>
          <p:cNvPr id="21" name="AutoShape 27"/>
          <p:cNvSpPr>
            <a:spLocks noChangeArrowheads="1"/>
          </p:cNvSpPr>
          <p:nvPr userDrawn="1"/>
        </p:nvSpPr>
        <p:spPr bwMode="auto">
          <a:xfrm>
            <a:off x="7002464" y="1794273"/>
            <a:ext cx="1258887" cy="472678"/>
          </a:xfrm>
          <a:prstGeom prst="parallelogram">
            <a:avLst>
              <a:gd name="adj" fmla="val 21140"/>
            </a:avLst>
          </a:prstGeom>
          <a:solidFill>
            <a:srgbClr val="333333">
              <a:alpha val="7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chemeClr val="bg1"/>
                </a:solidFill>
              </a:rPr>
              <a:t>80%</a:t>
            </a:r>
          </a:p>
        </p:txBody>
      </p:sp>
      <p:sp>
        <p:nvSpPr>
          <p:cNvPr id="22" name="Rectangle 28"/>
          <p:cNvSpPr>
            <a:spLocks noChangeArrowheads="1"/>
          </p:cNvSpPr>
          <p:nvPr userDrawn="1"/>
        </p:nvSpPr>
        <p:spPr bwMode="auto">
          <a:xfrm>
            <a:off x="889000" y="230028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86/184/149</a:t>
            </a:r>
          </a:p>
        </p:txBody>
      </p:sp>
      <p:sp>
        <p:nvSpPr>
          <p:cNvPr id="23" name="Rectangle 29"/>
          <p:cNvSpPr>
            <a:spLocks noChangeArrowheads="1"/>
          </p:cNvSpPr>
          <p:nvPr userDrawn="1"/>
        </p:nvSpPr>
        <p:spPr bwMode="auto">
          <a:xfrm>
            <a:off x="2125663" y="230028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17/121/132</a:t>
            </a:r>
          </a:p>
        </p:txBody>
      </p:sp>
      <p:sp>
        <p:nvSpPr>
          <p:cNvPr id="24" name="Rectangle 30"/>
          <p:cNvSpPr>
            <a:spLocks noChangeArrowheads="1"/>
          </p:cNvSpPr>
          <p:nvPr userDrawn="1"/>
        </p:nvSpPr>
        <p:spPr bwMode="auto">
          <a:xfrm>
            <a:off x="3317875" y="230028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51/131/189</a:t>
            </a:r>
          </a:p>
        </p:txBody>
      </p:sp>
      <p:sp>
        <p:nvSpPr>
          <p:cNvPr id="25" name="Rectangle 31"/>
          <p:cNvSpPr>
            <a:spLocks noChangeArrowheads="1"/>
          </p:cNvSpPr>
          <p:nvPr userDrawn="1"/>
        </p:nvSpPr>
        <p:spPr bwMode="auto">
          <a:xfrm>
            <a:off x="4554538" y="230028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32/51/72</a:t>
            </a:r>
          </a:p>
        </p:txBody>
      </p:sp>
      <p:sp>
        <p:nvSpPr>
          <p:cNvPr id="26" name="Rectangle 32"/>
          <p:cNvSpPr>
            <a:spLocks noChangeArrowheads="1"/>
          </p:cNvSpPr>
          <p:nvPr userDrawn="1"/>
        </p:nvSpPr>
        <p:spPr bwMode="auto">
          <a:xfrm>
            <a:off x="5765800" y="230028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55/228/61</a:t>
            </a:r>
          </a:p>
        </p:txBody>
      </p:sp>
      <p:sp>
        <p:nvSpPr>
          <p:cNvPr id="27" name="Rectangle 33"/>
          <p:cNvSpPr>
            <a:spLocks noChangeArrowheads="1"/>
          </p:cNvSpPr>
          <p:nvPr userDrawn="1"/>
        </p:nvSpPr>
        <p:spPr bwMode="auto">
          <a:xfrm>
            <a:off x="7002463" y="230028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92/92/92</a:t>
            </a:r>
          </a:p>
        </p:txBody>
      </p:sp>
      <p:sp>
        <p:nvSpPr>
          <p:cNvPr id="28" name="AutoShape 34"/>
          <p:cNvSpPr>
            <a:spLocks noChangeArrowheads="1"/>
          </p:cNvSpPr>
          <p:nvPr userDrawn="1"/>
        </p:nvSpPr>
        <p:spPr bwMode="auto">
          <a:xfrm>
            <a:off x="882650" y="2489598"/>
            <a:ext cx="1258888" cy="472678"/>
          </a:xfrm>
          <a:prstGeom prst="parallelogram">
            <a:avLst>
              <a:gd name="adj" fmla="val 21140"/>
            </a:avLst>
          </a:prstGeom>
          <a:solidFill>
            <a:srgbClr val="2CA67B">
              <a:alpha val="5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60%</a:t>
            </a:r>
          </a:p>
        </p:txBody>
      </p:sp>
      <p:sp>
        <p:nvSpPr>
          <p:cNvPr id="29" name="AutoShape 35"/>
          <p:cNvSpPr>
            <a:spLocks noChangeArrowheads="1"/>
          </p:cNvSpPr>
          <p:nvPr userDrawn="1"/>
        </p:nvSpPr>
        <p:spPr bwMode="auto">
          <a:xfrm>
            <a:off x="2106614" y="2489598"/>
            <a:ext cx="1258887" cy="472678"/>
          </a:xfrm>
          <a:prstGeom prst="parallelogram">
            <a:avLst>
              <a:gd name="adj" fmla="val 21140"/>
            </a:avLst>
          </a:prstGeom>
          <a:solidFill>
            <a:srgbClr val="525765">
              <a:alpha val="5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60%</a:t>
            </a:r>
          </a:p>
        </p:txBody>
      </p:sp>
      <p:sp>
        <p:nvSpPr>
          <p:cNvPr id="30" name="AutoShape 36"/>
          <p:cNvSpPr>
            <a:spLocks noChangeArrowheads="1"/>
          </p:cNvSpPr>
          <p:nvPr userDrawn="1"/>
        </p:nvSpPr>
        <p:spPr bwMode="auto">
          <a:xfrm>
            <a:off x="3330575" y="2489598"/>
            <a:ext cx="1258888" cy="472678"/>
          </a:xfrm>
          <a:prstGeom prst="parallelogram">
            <a:avLst>
              <a:gd name="adj" fmla="val 21140"/>
            </a:avLst>
          </a:prstGeom>
          <a:solidFill>
            <a:srgbClr val="0064AD">
              <a:alpha val="5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60%</a:t>
            </a:r>
          </a:p>
        </p:txBody>
      </p:sp>
      <p:sp>
        <p:nvSpPr>
          <p:cNvPr id="31" name="AutoShape 37"/>
          <p:cNvSpPr>
            <a:spLocks noChangeArrowheads="1"/>
          </p:cNvSpPr>
          <p:nvPr userDrawn="1"/>
        </p:nvSpPr>
        <p:spPr bwMode="auto">
          <a:xfrm>
            <a:off x="4554538" y="2489598"/>
            <a:ext cx="1258887" cy="472678"/>
          </a:xfrm>
          <a:prstGeom prst="parallelogram">
            <a:avLst>
              <a:gd name="adj" fmla="val 21140"/>
            </a:avLst>
          </a:prstGeom>
          <a:solidFill>
            <a:srgbClr val="E2001A">
              <a:alpha val="5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60%</a:t>
            </a:r>
          </a:p>
        </p:txBody>
      </p:sp>
      <p:sp>
        <p:nvSpPr>
          <p:cNvPr id="32" name="AutoShape 38"/>
          <p:cNvSpPr>
            <a:spLocks noChangeArrowheads="1"/>
          </p:cNvSpPr>
          <p:nvPr userDrawn="1"/>
        </p:nvSpPr>
        <p:spPr bwMode="auto">
          <a:xfrm>
            <a:off x="5778500" y="2489598"/>
            <a:ext cx="1258888" cy="472678"/>
          </a:xfrm>
          <a:prstGeom prst="parallelogram">
            <a:avLst>
              <a:gd name="adj" fmla="val 21140"/>
            </a:avLst>
          </a:prstGeom>
          <a:solidFill>
            <a:srgbClr val="FFDD0D">
              <a:alpha val="5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60%</a:t>
            </a:r>
          </a:p>
        </p:txBody>
      </p:sp>
      <p:sp>
        <p:nvSpPr>
          <p:cNvPr id="33" name="AutoShape 39"/>
          <p:cNvSpPr>
            <a:spLocks noChangeArrowheads="1"/>
          </p:cNvSpPr>
          <p:nvPr userDrawn="1"/>
        </p:nvSpPr>
        <p:spPr bwMode="auto">
          <a:xfrm>
            <a:off x="7002464" y="2489598"/>
            <a:ext cx="1258887" cy="472678"/>
          </a:xfrm>
          <a:prstGeom prst="parallelogram">
            <a:avLst>
              <a:gd name="adj" fmla="val 21140"/>
            </a:avLst>
          </a:prstGeom>
          <a:solidFill>
            <a:srgbClr val="333333">
              <a:alpha val="5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60%</a:t>
            </a:r>
          </a:p>
        </p:txBody>
      </p:sp>
      <p:sp>
        <p:nvSpPr>
          <p:cNvPr id="34" name="Rectangle 40"/>
          <p:cNvSpPr>
            <a:spLocks noChangeArrowheads="1"/>
          </p:cNvSpPr>
          <p:nvPr userDrawn="1"/>
        </p:nvSpPr>
        <p:spPr bwMode="auto">
          <a:xfrm>
            <a:off x="889000" y="2995613"/>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28/202/176</a:t>
            </a:r>
          </a:p>
        </p:txBody>
      </p:sp>
      <p:sp>
        <p:nvSpPr>
          <p:cNvPr id="35" name="Rectangle 41"/>
          <p:cNvSpPr>
            <a:spLocks noChangeArrowheads="1"/>
          </p:cNvSpPr>
          <p:nvPr userDrawn="1"/>
        </p:nvSpPr>
        <p:spPr bwMode="auto">
          <a:xfrm>
            <a:off x="2125663" y="2995613"/>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51/154/163</a:t>
            </a:r>
          </a:p>
        </p:txBody>
      </p:sp>
      <p:sp>
        <p:nvSpPr>
          <p:cNvPr id="36" name="Rectangle 42"/>
          <p:cNvSpPr>
            <a:spLocks noChangeArrowheads="1"/>
          </p:cNvSpPr>
          <p:nvPr userDrawn="1"/>
        </p:nvSpPr>
        <p:spPr bwMode="auto">
          <a:xfrm>
            <a:off x="3317875" y="2995613"/>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02/162/206</a:t>
            </a:r>
          </a:p>
        </p:txBody>
      </p:sp>
      <p:sp>
        <p:nvSpPr>
          <p:cNvPr id="37" name="Rectangle 43"/>
          <p:cNvSpPr>
            <a:spLocks noChangeArrowheads="1"/>
          </p:cNvSpPr>
          <p:nvPr userDrawn="1"/>
        </p:nvSpPr>
        <p:spPr bwMode="auto">
          <a:xfrm>
            <a:off x="4554538" y="2995613"/>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38/102/118</a:t>
            </a:r>
          </a:p>
        </p:txBody>
      </p:sp>
      <p:sp>
        <p:nvSpPr>
          <p:cNvPr id="38" name="Rectangle 44"/>
          <p:cNvSpPr>
            <a:spLocks noChangeArrowheads="1"/>
          </p:cNvSpPr>
          <p:nvPr userDrawn="1"/>
        </p:nvSpPr>
        <p:spPr bwMode="auto">
          <a:xfrm>
            <a:off x="5765800" y="2995613"/>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55/235/110</a:t>
            </a:r>
          </a:p>
        </p:txBody>
      </p:sp>
      <p:sp>
        <p:nvSpPr>
          <p:cNvPr id="39" name="Rectangle 45"/>
          <p:cNvSpPr>
            <a:spLocks noChangeArrowheads="1"/>
          </p:cNvSpPr>
          <p:nvPr userDrawn="1"/>
        </p:nvSpPr>
        <p:spPr bwMode="auto">
          <a:xfrm>
            <a:off x="7002463" y="2995613"/>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33/133/133</a:t>
            </a:r>
          </a:p>
        </p:txBody>
      </p:sp>
      <p:sp>
        <p:nvSpPr>
          <p:cNvPr id="40" name="AutoShape 46"/>
          <p:cNvSpPr>
            <a:spLocks noChangeArrowheads="1"/>
          </p:cNvSpPr>
          <p:nvPr userDrawn="1"/>
        </p:nvSpPr>
        <p:spPr bwMode="auto">
          <a:xfrm>
            <a:off x="882650" y="3199210"/>
            <a:ext cx="1258888" cy="472678"/>
          </a:xfrm>
          <a:prstGeom prst="parallelogram">
            <a:avLst>
              <a:gd name="adj" fmla="val 21140"/>
            </a:avLst>
          </a:prstGeom>
          <a:solidFill>
            <a:srgbClr val="2CA67B">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40%</a:t>
            </a:r>
          </a:p>
        </p:txBody>
      </p:sp>
      <p:sp>
        <p:nvSpPr>
          <p:cNvPr id="41" name="AutoShape 47"/>
          <p:cNvSpPr>
            <a:spLocks noChangeArrowheads="1"/>
          </p:cNvSpPr>
          <p:nvPr userDrawn="1"/>
        </p:nvSpPr>
        <p:spPr bwMode="auto">
          <a:xfrm>
            <a:off x="2106614" y="3199210"/>
            <a:ext cx="1258887" cy="472678"/>
          </a:xfrm>
          <a:prstGeom prst="parallelogram">
            <a:avLst>
              <a:gd name="adj" fmla="val 21140"/>
            </a:avLst>
          </a:prstGeom>
          <a:solidFill>
            <a:srgbClr val="525765">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40%</a:t>
            </a:r>
          </a:p>
        </p:txBody>
      </p:sp>
      <p:sp>
        <p:nvSpPr>
          <p:cNvPr id="42" name="AutoShape 48"/>
          <p:cNvSpPr>
            <a:spLocks noChangeArrowheads="1"/>
          </p:cNvSpPr>
          <p:nvPr userDrawn="1"/>
        </p:nvSpPr>
        <p:spPr bwMode="auto">
          <a:xfrm>
            <a:off x="3330575" y="3199210"/>
            <a:ext cx="1258888" cy="472678"/>
          </a:xfrm>
          <a:prstGeom prst="parallelogram">
            <a:avLst>
              <a:gd name="adj" fmla="val 21140"/>
            </a:avLst>
          </a:prstGeom>
          <a:solidFill>
            <a:srgbClr val="0064AD">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40%</a:t>
            </a:r>
          </a:p>
        </p:txBody>
      </p:sp>
      <p:sp>
        <p:nvSpPr>
          <p:cNvPr id="43" name="AutoShape 49"/>
          <p:cNvSpPr>
            <a:spLocks noChangeArrowheads="1"/>
          </p:cNvSpPr>
          <p:nvPr userDrawn="1"/>
        </p:nvSpPr>
        <p:spPr bwMode="auto">
          <a:xfrm>
            <a:off x="4554538" y="3199210"/>
            <a:ext cx="1258887" cy="472678"/>
          </a:xfrm>
          <a:prstGeom prst="parallelogram">
            <a:avLst>
              <a:gd name="adj" fmla="val 21140"/>
            </a:avLst>
          </a:prstGeom>
          <a:solidFill>
            <a:srgbClr val="E2001A">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40%</a:t>
            </a:r>
          </a:p>
        </p:txBody>
      </p:sp>
      <p:sp>
        <p:nvSpPr>
          <p:cNvPr id="44" name="AutoShape 50"/>
          <p:cNvSpPr>
            <a:spLocks noChangeArrowheads="1"/>
          </p:cNvSpPr>
          <p:nvPr userDrawn="1"/>
        </p:nvSpPr>
        <p:spPr bwMode="auto">
          <a:xfrm>
            <a:off x="5778500" y="3199210"/>
            <a:ext cx="1258888" cy="472678"/>
          </a:xfrm>
          <a:prstGeom prst="parallelogram">
            <a:avLst>
              <a:gd name="adj" fmla="val 21140"/>
            </a:avLst>
          </a:prstGeom>
          <a:solidFill>
            <a:srgbClr val="FFDD0D">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40%</a:t>
            </a:r>
          </a:p>
        </p:txBody>
      </p:sp>
      <p:sp>
        <p:nvSpPr>
          <p:cNvPr id="45" name="AutoShape 51"/>
          <p:cNvSpPr>
            <a:spLocks noChangeArrowheads="1"/>
          </p:cNvSpPr>
          <p:nvPr userDrawn="1"/>
        </p:nvSpPr>
        <p:spPr bwMode="auto">
          <a:xfrm>
            <a:off x="7002464" y="3199210"/>
            <a:ext cx="1258887" cy="472678"/>
          </a:xfrm>
          <a:prstGeom prst="parallelogram">
            <a:avLst>
              <a:gd name="adj" fmla="val 21140"/>
            </a:avLst>
          </a:prstGeom>
          <a:solidFill>
            <a:srgbClr val="333333">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40%</a:t>
            </a:r>
          </a:p>
        </p:txBody>
      </p:sp>
      <p:sp>
        <p:nvSpPr>
          <p:cNvPr id="46" name="Rectangle 52"/>
          <p:cNvSpPr>
            <a:spLocks noChangeArrowheads="1"/>
          </p:cNvSpPr>
          <p:nvPr userDrawn="1"/>
        </p:nvSpPr>
        <p:spPr bwMode="auto">
          <a:xfrm>
            <a:off x="889000" y="370522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71/219/202</a:t>
            </a:r>
          </a:p>
        </p:txBody>
      </p:sp>
      <p:sp>
        <p:nvSpPr>
          <p:cNvPr id="47" name="Rectangle 53"/>
          <p:cNvSpPr>
            <a:spLocks noChangeArrowheads="1"/>
          </p:cNvSpPr>
          <p:nvPr userDrawn="1"/>
        </p:nvSpPr>
        <p:spPr bwMode="auto">
          <a:xfrm>
            <a:off x="2125663" y="370522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86/188/193</a:t>
            </a:r>
          </a:p>
        </p:txBody>
      </p:sp>
      <p:sp>
        <p:nvSpPr>
          <p:cNvPr id="48" name="Rectangle 54"/>
          <p:cNvSpPr>
            <a:spLocks noChangeArrowheads="1"/>
          </p:cNvSpPr>
          <p:nvPr userDrawn="1"/>
        </p:nvSpPr>
        <p:spPr bwMode="auto">
          <a:xfrm>
            <a:off x="3317875" y="370522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53/193/222</a:t>
            </a:r>
          </a:p>
        </p:txBody>
      </p:sp>
      <p:sp>
        <p:nvSpPr>
          <p:cNvPr id="49" name="Rectangle 55"/>
          <p:cNvSpPr>
            <a:spLocks noChangeArrowheads="1"/>
          </p:cNvSpPr>
          <p:nvPr userDrawn="1"/>
        </p:nvSpPr>
        <p:spPr bwMode="auto">
          <a:xfrm>
            <a:off x="4554538" y="370522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43/153/163</a:t>
            </a:r>
          </a:p>
        </p:txBody>
      </p:sp>
      <p:sp>
        <p:nvSpPr>
          <p:cNvPr id="50" name="Rectangle 56"/>
          <p:cNvSpPr>
            <a:spLocks noChangeArrowheads="1"/>
          </p:cNvSpPr>
          <p:nvPr userDrawn="1"/>
        </p:nvSpPr>
        <p:spPr bwMode="auto">
          <a:xfrm>
            <a:off x="5765800" y="370522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55/241/158</a:t>
            </a:r>
          </a:p>
        </p:txBody>
      </p:sp>
      <p:sp>
        <p:nvSpPr>
          <p:cNvPr id="51" name="Rectangle 57"/>
          <p:cNvSpPr>
            <a:spLocks noChangeArrowheads="1"/>
          </p:cNvSpPr>
          <p:nvPr userDrawn="1"/>
        </p:nvSpPr>
        <p:spPr bwMode="auto">
          <a:xfrm>
            <a:off x="7002463" y="370522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73/173/173</a:t>
            </a:r>
          </a:p>
        </p:txBody>
      </p:sp>
      <p:sp>
        <p:nvSpPr>
          <p:cNvPr id="52" name="AutoShape 58"/>
          <p:cNvSpPr>
            <a:spLocks noChangeArrowheads="1"/>
          </p:cNvSpPr>
          <p:nvPr userDrawn="1"/>
        </p:nvSpPr>
        <p:spPr bwMode="auto">
          <a:xfrm>
            <a:off x="882650" y="3946923"/>
            <a:ext cx="1258888" cy="472678"/>
          </a:xfrm>
          <a:prstGeom prst="parallelogram">
            <a:avLst>
              <a:gd name="adj" fmla="val 21140"/>
            </a:avLst>
          </a:prstGeom>
          <a:solidFill>
            <a:srgbClr val="2CA67B">
              <a:alpha val="2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20%</a:t>
            </a:r>
          </a:p>
        </p:txBody>
      </p:sp>
      <p:sp>
        <p:nvSpPr>
          <p:cNvPr id="53" name="AutoShape 59"/>
          <p:cNvSpPr>
            <a:spLocks noChangeArrowheads="1"/>
          </p:cNvSpPr>
          <p:nvPr userDrawn="1"/>
        </p:nvSpPr>
        <p:spPr bwMode="auto">
          <a:xfrm>
            <a:off x="2106614" y="3946923"/>
            <a:ext cx="1258887" cy="472678"/>
          </a:xfrm>
          <a:prstGeom prst="parallelogram">
            <a:avLst>
              <a:gd name="adj" fmla="val 21140"/>
            </a:avLst>
          </a:prstGeom>
          <a:solidFill>
            <a:srgbClr val="525765">
              <a:alpha val="2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20%</a:t>
            </a:r>
          </a:p>
        </p:txBody>
      </p:sp>
      <p:sp>
        <p:nvSpPr>
          <p:cNvPr id="54" name="AutoShape 60"/>
          <p:cNvSpPr>
            <a:spLocks noChangeArrowheads="1"/>
          </p:cNvSpPr>
          <p:nvPr userDrawn="1"/>
        </p:nvSpPr>
        <p:spPr bwMode="auto">
          <a:xfrm>
            <a:off x="3330575" y="3946923"/>
            <a:ext cx="1258888" cy="472678"/>
          </a:xfrm>
          <a:prstGeom prst="parallelogram">
            <a:avLst>
              <a:gd name="adj" fmla="val 21140"/>
            </a:avLst>
          </a:prstGeom>
          <a:solidFill>
            <a:srgbClr val="0064AD">
              <a:alpha val="2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20%</a:t>
            </a:r>
          </a:p>
        </p:txBody>
      </p:sp>
      <p:sp>
        <p:nvSpPr>
          <p:cNvPr id="55" name="AutoShape 61"/>
          <p:cNvSpPr>
            <a:spLocks noChangeArrowheads="1"/>
          </p:cNvSpPr>
          <p:nvPr userDrawn="1"/>
        </p:nvSpPr>
        <p:spPr bwMode="auto">
          <a:xfrm>
            <a:off x="4554538" y="3946923"/>
            <a:ext cx="1258887" cy="472678"/>
          </a:xfrm>
          <a:prstGeom prst="parallelogram">
            <a:avLst>
              <a:gd name="adj" fmla="val 21140"/>
            </a:avLst>
          </a:prstGeom>
          <a:solidFill>
            <a:srgbClr val="E2001A">
              <a:alpha val="2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20%</a:t>
            </a:r>
          </a:p>
        </p:txBody>
      </p:sp>
      <p:sp>
        <p:nvSpPr>
          <p:cNvPr id="56" name="AutoShape 62"/>
          <p:cNvSpPr>
            <a:spLocks noChangeArrowheads="1"/>
          </p:cNvSpPr>
          <p:nvPr userDrawn="1"/>
        </p:nvSpPr>
        <p:spPr bwMode="auto">
          <a:xfrm>
            <a:off x="5778500" y="3946923"/>
            <a:ext cx="1258888" cy="472678"/>
          </a:xfrm>
          <a:prstGeom prst="parallelogram">
            <a:avLst>
              <a:gd name="adj" fmla="val 21140"/>
            </a:avLst>
          </a:prstGeom>
          <a:solidFill>
            <a:srgbClr val="FFDD0D">
              <a:alpha val="2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20%</a:t>
            </a:r>
          </a:p>
        </p:txBody>
      </p:sp>
      <p:sp>
        <p:nvSpPr>
          <p:cNvPr id="57" name="AutoShape 63"/>
          <p:cNvSpPr>
            <a:spLocks noChangeArrowheads="1"/>
          </p:cNvSpPr>
          <p:nvPr userDrawn="1"/>
        </p:nvSpPr>
        <p:spPr bwMode="auto">
          <a:xfrm>
            <a:off x="7002464" y="3946923"/>
            <a:ext cx="1258887" cy="472678"/>
          </a:xfrm>
          <a:prstGeom prst="parallelogram">
            <a:avLst>
              <a:gd name="adj" fmla="val 21140"/>
            </a:avLst>
          </a:prstGeom>
          <a:solidFill>
            <a:srgbClr val="333333">
              <a:alpha val="2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20%</a:t>
            </a:r>
          </a:p>
        </p:txBody>
      </p:sp>
      <p:sp>
        <p:nvSpPr>
          <p:cNvPr id="58" name="Rectangle 64"/>
          <p:cNvSpPr>
            <a:spLocks noChangeArrowheads="1"/>
          </p:cNvSpPr>
          <p:nvPr userDrawn="1"/>
        </p:nvSpPr>
        <p:spPr bwMode="auto">
          <a:xfrm>
            <a:off x="889000" y="445293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13/237/229</a:t>
            </a:r>
          </a:p>
        </p:txBody>
      </p:sp>
      <p:sp>
        <p:nvSpPr>
          <p:cNvPr id="59" name="Rectangle 65"/>
          <p:cNvSpPr>
            <a:spLocks noChangeArrowheads="1"/>
          </p:cNvSpPr>
          <p:nvPr userDrawn="1"/>
        </p:nvSpPr>
        <p:spPr bwMode="auto">
          <a:xfrm>
            <a:off x="2125663" y="445293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20/221/224</a:t>
            </a:r>
          </a:p>
        </p:txBody>
      </p:sp>
      <p:sp>
        <p:nvSpPr>
          <p:cNvPr id="60" name="Rectangle 66"/>
          <p:cNvSpPr>
            <a:spLocks noChangeArrowheads="1"/>
          </p:cNvSpPr>
          <p:nvPr userDrawn="1"/>
        </p:nvSpPr>
        <p:spPr bwMode="auto">
          <a:xfrm>
            <a:off x="3317875" y="445293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04/224/239</a:t>
            </a:r>
          </a:p>
        </p:txBody>
      </p:sp>
      <p:sp>
        <p:nvSpPr>
          <p:cNvPr id="61" name="Rectangle 67"/>
          <p:cNvSpPr>
            <a:spLocks noChangeArrowheads="1"/>
          </p:cNvSpPr>
          <p:nvPr userDrawn="1"/>
        </p:nvSpPr>
        <p:spPr bwMode="auto">
          <a:xfrm>
            <a:off x="4554538" y="445293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49/204/209</a:t>
            </a:r>
          </a:p>
        </p:txBody>
      </p:sp>
      <p:sp>
        <p:nvSpPr>
          <p:cNvPr id="62" name="Rectangle 68"/>
          <p:cNvSpPr>
            <a:spLocks noChangeArrowheads="1"/>
          </p:cNvSpPr>
          <p:nvPr userDrawn="1"/>
        </p:nvSpPr>
        <p:spPr bwMode="auto">
          <a:xfrm>
            <a:off x="5765800" y="445293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55/248/207</a:t>
            </a:r>
          </a:p>
        </p:txBody>
      </p:sp>
      <p:sp>
        <p:nvSpPr>
          <p:cNvPr id="63" name="Rectangle 69"/>
          <p:cNvSpPr>
            <a:spLocks noChangeArrowheads="1"/>
          </p:cNvSpPr>
          <p:nvPr userDrawn="1"/>
        </p:nvSpPr>
        <p:spPr bwMode="auto">
          <a:xfrm>
            <a:off x="7002463" y="445293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14/214/214</a:t>
            </a:r>
          </a:p>
        </p:txBody>
      </p:sp>
      <p:sp>
        <p:nvSpPr>
          <p:cNvPr id="64" name="Datumsplatzhalter 63"/>
          <p:cNvSpPr>
            <a:spLocks noGrp="1"/>
          </p:cNvSpPr>
          <p:nvPr>
            <p:ph type="dt" sz="half" idx="11"/>
          </p:nvPr>
        </p:nvSpPr>
        <p:spPr/>
        <p:txBody>
          <a:bodyPr/>
          <a:lstStyle/>
          <a:p>
            <a:r>
              <a:rPr lang="de-DE" noProof="0" dirty="0"/>
              <a:t>© 2017</a:t>
            </a:r>
            <a:endParaRPr lang="en-US" noProof="0" dirty="0"/>
          </a:p>
        </p:txBody>
      </p:sp>
    </p:spTree>
    <p:extLst>
      <p:ext uri="{BB962C8B-B14F-4D97-AF65-F5344CB8AC3E}">
        <p14:creationId xmlns:p14="http://schemas.microsoft.com/office/powerpoint/2010/main" val="25486739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a:extLst>
              <a:ext uri="{FF2B5EF4-FFF2-40B4-BE49-F238E27FC236}">
                <a16:creationId xmlns:a16="http://schemas.microsoft.com/office/drawing/2014/main" id="{61173A91-A5E1-643C-C1D2-D6BE8A779497}"/>
              </a:ext>
            </a:extLst>
          </p:cNvPr>
          <p:cNvSpPr>
            <a:spLocks noGrp="1"/>
          </p:cNvSpPr>
          <p:nvPr>
            <p:ph type="title"/>
          </p:nvPr>
        </p:nvSpPr>
        <p:spPr>
          <a:xfrm>
            <a:off x="595299" y="274733"/>
            <a:ext cx="7886700" cy="413654"/>
          </a:xfrm>
        </p:spPr>
        <p:txBody>
          <a:bodyPr>
            <a:noAutofit/>
          </a:bodyPr>
          <a:lstStyle>
            <a:lvl1pPr>
              <a:defRPr sz="3300">
                <a:solidFill>
                  <a:srgbClr val="043D5D"/>
                </a:solidFill>
              </a:defRPr>
            </a:lvl1pPr>
          </a:lstStyle>
          <a:p>
            <a:r>
              <a:rPr lang="en-US" dirty="0"/>
              <a:t>Click to edit Master title style</a:t>
            </a:r>
          </a:p>
        </p:txBody>
      </p:sp>
      <p:sp>
        <p:nvSpPr>
          <p:cNvPr id="5" name="Date Placeholder 4">
            <a:extLst>
              <a:ext uri="{FF2B5EF4-FFF2-40B4-BE49-F238E27FC236}">
                <a16:creationId xmlns:a16="http://schemas.microsoft.com/office/drawing/2014/main" id="{D262EE55-1192-3BCA-F294-95D506CB2FCC}"/>
              </a:ext>
            </a:extLst>
          </p:cNvPr>
          <p:cNvSpPr>
            <a:spLocks noGrp="1"/>
          </p:cNvSpPr>
          <p:nvPr>
            <p:ph type="dt" sz="half" idx="10"/>
          </p:nvPr>
        </p:nvSpPr>
        <p:spPr>
          <a:xfrm>
            <a:off x="628650" y="4787785"/>
            <a:ext cx="2350770" cy="259773"/>
          </a:xfrm>
        </p:spPr>
        <p:txBody>
          <a:bodyPr/>
          <a:lstStyle>
            <a:lvl1pPr>
              <a:defRPr/>
            </a:lvl1pPr>
          </a:lstStyle>
          <a:p>
            <a:r>
              <a:rPr lang="en-US" altLang="en-US" dirty="0">
                <a:cs typeface="Calibri" panose="020F0502020204030204" pitchFamily="34" charset="0"/>
              </a:rPr>
              <a:t>PI UK - APL – The Advanced Physical Layer</a:t>
            </a:r>
          </a:p>
          <a:p>
            <a:r>
              <a:rPr lang="en-US" altLang="en-US" dirty="0">
                <a:cs typeface="Calibri" panose="020F0502020204030204" pitchFamily="34" charset="0"/>
              </a:rPr>
              <a:t>Glasgow 2023</a:t>
            </a:r>
          </a:p>
          <a:p>
            <a:endParaRPr lang="en-US" altLang="en-US" dirty="0">
              <a:cs typeface="Calibri" panose="020F0502020204030204" pitchFamily="34" charset="0"/>
            </a:endParaRPr>
          </a:p>
        </p:txBody>
      </p:sp>
      <p:sp>
        <p:nvSpPr>
          <p:cNvPr id="7" name="Slide Number Placeholder 6">
            <a:extLst>
              <a:ext uri="{FF2B5EF4-FFF2-40B4-BE49-F238E27FC236}">
                <a16:creationId xmlns:a16="http://schemas.microsoft.com/office/drawing/2014/main" id="{89D3C140-A38E-B57F-9125-DC6A60B74353}"/>
              </a:ext>
            </a:extLst>
          </p:cNvPr>
          <p:cNvSpPr>
            <a:spLocks noGrp="1"/>
          </p:cNvSpPr>
          <p:nvPr>
            <p:ph type="sldNum" sz="quarter" idx="12"/>
          </p:nvPr>
        </p:nvSpPr>
        <p:spPr>
          <a:xfrm>
            <a:off x="7178040" y="4786684"/>
            <a:ext cx="1043609" cy="278276"/>
          </a:xfrm>
        </p:spPr>
        <p:txBody>
          <a:bodyPr/>
          <a:lstStyle/>
          <a:p>
            <a:r>
              <a:rPr lang="sv-SE" dirty="0"/>
              <a:t>PI UK APL 01.</a:t>
            </a:r>
            <a:fld id="{9ED226E9-BB3A-4813-9F10-F737410432BA}" type="slidenum">
              <a:rPr lang="sv-SE" smtClean="0"/>
              <a:pPr/>
              <a:t>‹#›</a:t>
            </a:fld>
            <a:endParaRPr lang="sv-SE" dirty="0"/>
          </a:p>
        </p:txBody>
      </p:sp>
    </p:spTree>
    <p:extLst>
      <p:ext uri="{BB962C8B-B14F-4D97-AF65-F5344CB8AC3E}">
        <p14:creationId xmlns:p14="http://schemas.microsoft.com/office/powerpoint/2010/main" val="627977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up to 14 items">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en-US" noProof="0" dirty="0"/>
              <a:t>Editable name of event</a:t>
            </a:r>
          </a:p>
        </p:txBody>
      </p:sp>
      <p:sp>
        <p:nvSpPr>
          <p:cNvPr id="67" name="Textplatzhalter 66"/>
          <p:cNvSpPr>
            <a:spLocks noGrp="1"/>
          </p:cNvSpPr>
          <p:nvPr userDrawn="1">
            <p:ph type="body" sz="quarter" idx="26" hasCustomPrompt="1"/>
          </p:nvPr>
        </p:nvSpPr>
        <p:spPr>
          <a:xfrm>
            <a:off x="706800" y="1038400"/>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indent="0">
              <a:buNone/>
              <a:defRPr sz="1600"/>
            </a:lvl1pPr>
          </a:lstStyle>
          <a:p>
            <a:pPr lvl="0"/>
            <a:r>
              <a:rPr lang="en-US" noProof="0" dirty="0"/>
              <a:t>Click to add agenda item</a:t>
            </a:r>
          </a:p>
        </p:txBody>
      </p:sp>
      <p:sp>
        <p:nvSpPr>
          <p:cNvPr id="68" name="Textplatzhalter 67"/>
          <p:cNvSpPr>
            <a:spLocks noGrp="1"/>
          </p:cNvSpPr>
          <p:nvPr userDrawn="1">
            <p:ph type="body" sz="quarter" idx="27" hasCustomPrompt="1"/>
          </p:nvPr>
        </p:nvSpPr>
        <p:spPr>
          <a:xfrm>
            <a:off x="259801" y="1038400"/>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62" name="Foliennummernplatzhalter 1"/>
          <p:cNvSpPr txBox="1">
            <a:spLocks/>
          </p:cNvSpPr>
          <p:nvPr userDrawn="1"/>
        </p:nvSpPr>
        <p:spPr>
          <a:xfrm>
            <a:off x="8408119" y="4818324"/>
            <a:ext cx="536121" cy="264684"/>
          </a:xfrm>
          <a:prstGeom prst="rect">
            <a:avLst/>
          </a:prstGeom>
        </p:spPr>
        <p:txBody>
          <a:bodyPr vert="horz" lIns="91440" tIns="45720" rIns="91440" bIns="45720" rtlCol="0" anchor="ctr"/>
          <a:lstStyle>
            <a:defPPr>
              <a:defRPr lang="de-DE"/>
            </a:defPPr>
            <a:lvl1pPr marL="0" algn="r" defTabSz="713232" rtl="0" eaLnBrk="1" latinLnBrk="0" hangingPunct="1">
              <a:defRPr sz="1200" kern="1200">
                <a:solidFill>
                  <a:schemeClr val="bg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a:lstStyle>
          <a:p>
            <a:fld id="{F0B876DB-ED65-473E-9C95-7A5D374C8C64}" type="slidenum">
              <a:rPr lang="en-US" noProof="0" smtClean="0"/>
              <a:pPr/>
              <a:t>‹#›</a:t>
            </a:fld>
            <a:endParaRPr lang="en-US" noProof="0" dirty="0"/>
          </a:p>
        </p:txBody>
      </p:sp>
      <p:sp>
        <p:nvSpPr>
          <p:cNvPr id="69" name="Textplatzhalter 68"/>
          <p:cNvSpPr>
            <a:spLocks noGrp="1"/>
          </p:cNvSpPr>
          <p:nvPr>
            <p:ph type="body" sz="quarter" idx="34" hasCustomPrompt="1"/>
          </p:nvPr>
        </p:nvSpPr>
        <p:spPr>
          <a:xfrm>
            <a:off x="706799" y="1572076"/>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70" name="Textplatzhalter 69"/>
          <p:cNvSpPr>
            <a:spLocks noGrp="1"/>
          </p:cNvSpPr>
          <p:nvPr>
            <p:ph type="body" sz="quarter" idx="35" hasCustomPrompt="1"/>
          </p:nvPr>
        </p:nvSpPr>
        <p:spPr>
          <a:xfrm>
            <a:off x="259800" y="1572076"/>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71" name="Textplatzhalter 70"/>
          <p:cNvSpPr>
            <a:spLocks noGrp="1"/>
          </p:cNvSpPr>
          <p:nvPr>
            <p:ph type="body" sz="quarter" idx="36" hasCustomPrompt="1"/>
          </p:nvPr>
        </p:nvSpPr>
        <p:spPr>
          <a:xfrm>
            <a:off x="706798" y="2105752"/>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72" name="Textplatzhalter 71"/>
          <p:cNvSpPr>
            <a:spLocks noGrp="1"/>
          </p:cNvSpPr>
          <p:nvPr>
            <p:ph type="body" sz="quarter" idx="37" hasCustomPrompt="1"/>
          </p:nvPr>
        </p:nvSpPr>
        <p:spPr>
          <a:xfrm>
            <a:off x="259799" y="2105752"/>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73" name="Textplatzhalter 72"/>
          <p:cNvSpPr>
            <a:spLocks noGrp="1"/>
          </p:cNvSpPr>
          <p:nvPr>
            <p:ph type="body" sz="quarter" idx="38" hasCustomPrompt="1"/>
          </p:nvPr>
        </p:nvSpPr>
        <p:spPr>
          <a:xfrm>
            <a:off x="706797" y="2639428"/>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74" name="Textplatzhalter 73"/>
          <p:cNvSpPr>
            <a:spLocks noGrp="1"/>
          </p:cNvSpPr>
          <p:nvPr>
            <p:ph type="body" sz="quarter" idx="39" hasCustomPrompt="1"/>
          </p:nvPr>
        </p:nvSpPr>
        <p:spPr>
          <a:xfrm>
            <a:off x="259798" y="2639428"/>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75" name="Textplatzhalter 74"/>
          <p:cNvSpPr>
            <a:spLocks noGrp="1"/>
          </p:cNvSpPr>
          <p:nvPr>
            <p:ph type="body" sz="quarter" idx="40" hasCustomPrompt="1"/>
          </p:nvPr>
        </p:nvSpPr>
        <p:spPr>
          <a:xfrm>
            <a:off x="706796" y="3173104"/>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76" name="Textplatzhalter 75"/>
          <p:cNvSpPr>
            <a:spLocks noGrp="1"/>
          </p:cNvSpPr>
          <p:nvPr>
            <p:ph type="body" sz="quarter" idx="41" hasCustomPrompt="1"/>
          </p:nvPr>
        </p:nvSpPr>
        <p:spPr>
          <a:xfrm>
            <a:off x="259797" y="3173104"/>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77" name="Textplatzhalter 76"/>
          <p:cNvSpPr>
            <a:spLocks noGrp="1"/>
          </p:cNvSpPr>
          <p:nvPr>
            <p:ph type="body" sz="quarter" idx="42" hasCustomPrompt="1"/>
          </p:nvPr>
        </p:nvSpPr>
        <p:spPr>
          <a:xfrm>
            <a:off x="706795" y="3706780"/>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78" name="Textplatzhalter 77"/>
          <p:cNvSpPr>
            <a:spLocks noGrp="1"/>
          </p:cNvSpPr>
          <p:nvPr>
            <p:ph type="body" sz="quarter" idx="43" hasCustomPrompt="1"/>
          </p:nvPr>
        </p:nvSpPr>
        <p:spPr>
          <a:xfrm>
            <a:off x="259796" y="3706780"/>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79" name="Textplatzhalter 78"/>
          <p:cNvSpPr>
            <a:spLocks noGrp="1"/>
          </p:cNvSpPr>
          <p:nvPr>
            <p:ph type="body" sz="quarter" idx="44" hasCustomPrompt="1"/>
          </p:nvPr>
        </p:nvSpPr>
        <p:spPr>
          <a:xfrm>
            <a:off x="699896" y="4240453"/>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80" name="Textplatzhalter 79"/>
          <p:cNvSpPr>
            <a:spLocks noGrp="1"/>
          </p:cNvSpPr>
          <p:nvPr>
            <p:ph type="body" sz="quarter" idx="45" hasCustomPrompt="1"/>
          </p:nvPr>
        </p:nvSpPr>
        <p:spPr>
          <a:xfrm>
            <a:off x="252897" y="4240453"/>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4" name="Titel 3"/>
          <p:cNvSpPr>
            <a:spLocks noGrp="1"/>
          </p:cNvSpPr>
          <p:nvPr>
            <p:ph type="title" hasCustomPrompt="1"/>
          </p:nvPr>
        </p:nvSpPr>
        <p:spPr/>
        <p:txBody>
          <a:bodyPr/>
          <a:lstStyle>
            <a:lvl1pPr>
              <a:defRPr/>
            </a:lvl1pPr>
          </a:lstStyle>
          <a:p>
            <a:r>
              <a:rPr lang="en-US" noProof="0" dirty="0"/>
              <a:t>Click to add title</a:t>
            </a:r>
          </a:p>
        </p:txBody>
      </p:sp>
      <p:sp>
        <p:nvSpPr>
          <p:cNvPr id="19" name="Textplatzhalter 66"/>
          <p:cNvSpPr>
            <a:spLocks noGrp="1"/>
          </p:cNvSpPr>
          <p:nvPr>
            <p:ph type="body" sz="quarter" idx="46" hasCustomPrompt="1"/>
          </p:nvPr>
        </p:nvSpPr>
        <p:spPr>
          <a:xfrm>
            <a:off x="5211358" y="1038400"/>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indent="0">
              <a:buNone/>
              <a:defRPr sz="1600"/>
            </a:lvl1pPr>
          </a:lstStyle>
          <a:p>
            <a:pPr lvl="0"/>
            <a:r>
              <a:rPr lang="en-US" noProof="0" dirty="0"/>
              <a:t>Click to add agenda item</a:t>
            </a:r>
          </a:p>
        </p:txBody>
      </p:sp>
      <p:sp>
        <p:nvSpPr>
          <p:cNvPr id="20" name="Textplatzhalter 67"/>
          <p:cNvSpPr>
            <a:spLocks noGrp="1"/>
          </p:cNvSpPr>
          <p:nvPr>
            <p:ph type="body" sz="quarter" idx="47" hasCustomPrompt="1"/>
          </p:nvPr>
        </p:nvSpPr>
        <p:spPr>
          <a:xfrm>
            <a:off x="4764359" y="1038400"/>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21" name="Textplatzhalter 68"/>
          <p:cNvSpPr>
            <a:spLocks noGrp="1"/>
          </p:cNvSpPr>
          <p:nvPr>
            <p:ph type="body" sz="quarter" idx="48" hasCustomPrompt="1"/>
          </p:nvPr>
        </p:nvSpPr>
        <p:spPr>
          <a:xfrm>
            <a:off x="5211357" y="1572076"/>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22" name="Textplatzhalter 69"/>
          <p:cNvSpPr>
            <a:spLocks noGrp="1"/>
          </p:cNvSpPr>
          <p:nvPr>
            <p:ph type="body" sz="quarter" idx="49" hasCustomPrompt="1"/>
          </p:nvPr>
        </p:nvSpPr>
        <p:spPr>
          <a:xfrm>
            <a:off x="4764358" y="1572076"/>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23" name="Textplatzhalter 70"/>
          <p:cNvSpPr>
            <a:spLocks noGrp="1"/>
          </p:cNvSpPr>
          <p:nvPr>
            <p:ph type="body" sz="quarter" idx="50" hasCustomPrompt="1"/>
          </p:nvPr>
        </p:nvSpPr>
        <p:spPr>
          <a:xfrm>
            <a:off x="5211356" y="2105752"/>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24" name="Textplatzhalter 71"/>
          <p:cNvSpPr>
            <a:spLocks noGrp="1"/>
          </p:cNvSpPr>
          <p:nvPr>
            <p:ph type="body" sz="quarter" idx="51" hasCustomPrompt="1"/>
          </p:nvPr>
        </p:nvSpPr>
        <p:spPr>
          <a:xfrm>
            <a:off x="4764357" y="2105752"/>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25" name="Textplatzhalter 72"/>
          <p:cNvSpPr>
            <a:spLocks noGrp="1"/>
          </p:cNvSpPr>
          <p:nvPr>
            <p:ph type="body" sz="quarter" idx="52" hasCustomPrompt="1"/>
          </p:nvPr>
        </p:nvSpPr>
        <p:spPr>
          <a:xfrm>
            <a:off x="5211355" y="2639428"/>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26" name="Textplatzhalter 73"/>
          <p:cNvSpPr>
            <a:spLocks noGrp="1"/>
          </p:cNvSpPr>
          <p:nvPr>
            <p:ph type="body" sz="quarter" idx="53" hasCustomPrompt="1"/>
          </p:nvPr>
        </p:nvSpPr>
        <p:spPr>
          <a:xfrm>
            <a:off x="4764356" y="2639428"/>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27" name="Textplatzhalter 74"/>
          <p:cNvSpPr>
            <a:spLocks noGrp="1"/>
          </p:cNvSpPr>
          <p:nvPr>
            <p:ph type="body" sz="quarter" idx="54" hasCustomPrompt="1"/>
          </p:nvPr>
        </p:nvSpPr>
        <p:spPr>
          <a:xfrm>
            <a:off x="5211354" y="3173104"/>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28" name="Textplatzhalter 75"/>
          <p:cNvSpPr>
            <a:spLocks noGrp="1"/>
          </p:cNvSpPr>
          <p:nvPr>
            <p:ph type="body" sz="quarter" idx="55" hasCustomPrompt="1"/>
          </p:nvPr>
        </p:nvSpPr>
        <p:spPr>
          <a:xfrm>
            <a:off x="4764355" y="3173104"/>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29" name="Textplatzhalter 76"/>
          <p:cNvSpPr>
            <a:spLocks noGrp="1"/>
          </p:cNvSpPr>
          <p:nvPr>
            <p:ph type="body" sz="quarter" idx="56" hasCustomPrompt="1"/>
          </p:nvPr>
        </p:nvSpPr>
        <p:spPr>
          <a:xfrm>
            <a:off x="5211353" y="3706780"/>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30" name="Textplatzhalter 77"/>
          <p:cNvSpPr>
            <a:spLocks noGrp="1"/>
          </p:cNvSpPr>
          <p:nvPr>
            <p:ph type="body" sz="quarter" idx="57" hasCustomPrompt="1"/>
          </p:nvPr>
        </p:nvSpPr>
        <p:spPr>
          <a:xfrm>
            <a:off x="4764354" y="3706780"/>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31" name="Textplatzhalter 78"/>
          <p:cNvSpPr>
            <a:spLocks noGrp="1"/>
          </p:cNvSpPr>
          <p:nvPr>
            <p:ph type="body" sz="quarter" idx="58" hasCustomPrompt="1"/>
          </p:nvPr>
        </p:nvSpPr>
        <p:spPr>
          <a:xfrm>
            <a:off x="5204454" y="4240453"/>
            <a:ext cx="3685814" cy="374400"/>
          </a:xfrm>
          <a:custGeom>
            <a:avLst/>
            <a:gdLst>
              <a:gd name="connsiteX0" fmla="*/ 0 w 6937610"/>
              <a:gd name="connsiteY0" fmla="*/ 0 h 374400"/>
              <a:gd name="connsiteX1" fmla="*/ 2233486 w 6937610"/>
              <a:gd name="connsiteY1" fmla="*/ 0 h 374400"/>
              <a:gd name="connsiteX2" fmla="*/ 2308485 w 6937610"/>
              <a:gd name="connsiteY2" fmla="*/ 0 h 374400"/>
              <a:gd name="connsiteX3" fmla="*/ 2308485 w 6937610"/>
              <a:gd name="connsiteY3" fmla="*/ 35 h 374400"/>
              <a:gd name="connsiteX4" fmla="*/ 6303357 w 6937610"/>
              <a:gd name="connsiteY4" fmla="*/ 1888 h 374400"/>
              <a:gd name="connsiteX5" fmla="*/ 6683233 w 6937610"/>
              <a:gd name="connsiteY5" fmla="*/ 1931 h 374400"/>
              <a:gd name="connsiteX6" fmla="*/ 6781178 w 6937610"/>
              <a:gd name="connsiteY6" fmla="*/ 1406 h 374400"/>
              <a:gd name="connsiteX7" fmla="*/ 6847509 w 6937610"/>
              <a:gd name="connsiteY7" fmla="*/ 1075 h 374400"/>
              <a:gd name="connsiteX8" fmla="*/ 6934599 w 6937610"/>
              <a:gd name="connsiteY8" fmla="*/ 60387 h 374400"/>
              <a:gd name="connsiteX9" fmla="*/ 6865482 w 6937610"/>
              <a:gd name="connsiteY9" fmla="*/ 308811 h 374400"/>
              <a:gd name="connsiteX10" fmla="*/ 6781178 w 6937610"/>
              <a:gd name="connsiteY10" fmla="*/ 370123 h 374400"/>
              <a:gd name="connsiteX11" fmla="*/ 2308485 w 6937610"/>
              <a:gd name="connsiteY11" fmla="*/ 374330 h 374400"/>
              <a:gd name="connsiteX12" fmla="*/ 2308485 w 6937610"/>
              <a:gd name="connsiteY12" fmla="*/ 374400 h 374400"/>
              <a:gd name="connsiteX13" fmla="*/ 2233817 w 6937610"/>
              <a:gd name="connsiteY13" fmla="*/ 374400 h 374400"/>
              <a:gd name="connsiteX14" fmla="*/ 0 w 6937610"/>
              <a:gd name="connsiteY14" fmla="*/ 374400 h 3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7610" h="374400">
                <a:moveTo>
                  <a:pt x="0" y="0"/>
                </a:moveTo>
                <a:lnTo>
                  <a:pt x="2233486" y="0"/>
                </a:lnTo>
                <a:lnTo>
                  <a:pt x="2308485" y="0"/>
                </a:lnTo>
                <a:lnTo>
                  <a:pt x="2308485" y="35"/>
                </a:lnTo>
                <a:lnTo>
                  <a:pt x="6303357" y="1888"/>
                </a:lnTo>
                <a:lnTo>
                  <a:pt x="6683233" y="1931"/>
                </a:lnTo>
                <a:lnTo>
                  <a:pt x="6781178" y="1406"/>
                </a:lnTo>
                <a:cubicBezTo>
                  <a:pt x="6845482" y="440"/>
                  <a:pt x="6779267" y="1185"/>
                  <a:pt x="6847509" y="1075"/>
                </a:cubicBezTo>
                <a:cubicBezTo>
                  <a:pt x="6930463" y="-2926"/>
                  <a:pt x="6945199" y="18081"/>
                  <a:pt x="6934599" y="60387"/>
                </a:cubicBezTo>
                <a:lnTo>
                  <a:pt x="6865482" y="308811"/>
                </a:lnTo>
                <a:cubicBezTo>
                  <a:pt x="6859365" y="344843"/>
                  <a:pt x="6825710" y="370123"/>
                  <a:pt x="6781178" y="370123"/>
                </a:cubicBezTo>
                <a:lnTo>
                  <a:pt x="2308485" y="374330"/>
                </a:lnTo>
                <a:lnTo>
                  <a:pt x="2308485" y="374400"/>
                </a:lnTo>
                <a:lnTo>
                  <a:pt x="2233817" y="374400"/>
                </a:lnTo>
                <a:lnTo>
                  <a:pt x="0" y="374400"/>
                </a:lnTo>
                <a:close/>
              </a:path>
            </a:pathLst>
          </a:custGeom>
          <a:solidFill>
            <a:schemeClr val="bg2"/>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32" name="Textplatzhalter 79"/>
          <p:cNvSpPr>
            <a:spLocks noGrp="1"/>
          </p:cNvSpPr>
          <p:nvPr>
            <p:ph type="body" sz="quarter" idx="59" hasCustomPrompt="1"/>
          </p:nvPr>
        </p:nvSpPr>
        <p:spPr>
          <a:xfrm>
            <a:off x="4757455" y="4240453"/>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34" name="Datumsplatzhalter 2"/>
          <p:cNvSpPr>
            <a:spLocks noGrp="1"/>
          </p:cNvSpPr>
          <p:nvPr>
            <p:ph type="dt" sz="half" idx="2"/>
          </p:nvPr>
        </p:nvSpPr>
        <p:spPr>
          <a:xfrm>
            <a:off x="5859593" y="4836676"/>
            <a:ext cx="2218984" cy="247177"/>
          </a:xfrm>
          <a:prstGeom prst="rect">
            <a:avLst/>
          </a:prstGeom>
        </p:spPr>
        <p:txBody>
          <a:bodyPr vert="horz" lIns="0" tIns="0" rIns="0" bIns="0" rtlCol="0" anchor="ctr">
            <a:noAutofit/>
          </a:bodyPr>
          <a:lstStyle>
            <a:lvl1pPr algn="l">
              <a:defRPr sz="900">
                <a:solidFill>
                  <a:schemeClr val="tx1">
                    <a:tint val="75000"/>
                  </a:schemeClr>
                </a:solidFill>
              </a:defRPr>
            </a:lvl1pPr>
          </a:lstStyle>
          <a:p>
            <a:r>
              <a:rPr lang="de-DE" dirty="0"/>
              <a:t>© 2022 PI UK and Control Specialists Ltd</a:t>
            </a:r>
            <a:endParaRPr lang="en-US" dirty="0"/>
          </a:p>
        </p:txBody>
      </p:sp>
    </p:spTree>
    <p:extLst>
      <p:ext uri="{BB962C8B-B14F-4D97-AF65-F5344CB8AC3E}">
        <p14:creationId xmlns:p14="http://schemas.microsoft.com/office/powerpoint/2010/main" val="8444791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Slide (double-columned)">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en-US" noProof="0" dirty="0"/>
              <a:t>Editable name of event</a:t>
            </a:r>
          </a:p>
        </p:txBody>
      </p:sp>
      <p:sp>
        <p:nvSpPr>
          <p:cNvPr id="5" name="Titel 4"/>
          <p:cNvSpPr>
            <a:spLocks noGrp="1"/>
          </p:cNvSpPr>
          <p:nvPr>
            <p:ph type="title" hasCustomPrompt="1"/>
          </p:nvPr>
        </p:nvSpPr>
        <p:spPr/>
        <p:txBody>
          <a:bodyPr/>
          <a:lstStyle>
            <a:lvl1pPr>
              <a:defRPr/>
            </a:lvl1pPr>
          </a:lstStyle>
          <a:p>
            <a:r>
              <a:rPr lang="en-US" noProof="0" dirty="0"/>
              <a:t>Click to add title</a:t>
            </a:r>
          </a:p>
        </p:txBody>
      </p:sp>
      <p:sp>
        <p:nvSpPr>
          <p:cNvPr id="7" name="Textplatzhalter 6"/>
          <p:cNvSpPr>
            <a:spLocks noGrp="1"/>
          </p:cNvSpPr>
          <p:nvPr>
            <p:ph type="body" sz="quarter" idx="16" hasCustomPrompt="1"/>
          </p:nvPr>
        </p:nvSpPr>
        <p:spPr>
          <a:xfrm>
            <a:off x="250825" y="914400"/>
            <a:ext cx="4141788" cy="3816350"/>
          </a:xfrm>
          <a:prstGeom prst="rect">
            <a:avLst/>
          </a:prstGeom>
        </p:spPr>
        <p:txBody>
          <a:bodyPr/>
          <a:lstStyle>
            <a:lvl1pPr>
              <a:defRPr/>
            </a:lvl1pPr>
            <a:lvl2pPr>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8" name="Textplatzhalter 6"/>
          <p:cNvSpPr>
            <a:spLocks noGrp="1"/>
          </p:cNvSpPr>
          <p:nvPr>
            <p:ph type="body" sz="quarter" idx="17" hasCustomPrompt="1"/>
          </p:nvPr>
        </p:nvSpPr>
        <p:spPr>
          <a:xfrm>
            <a:off x="4751388" y="914400"/>
            <a:ext cx="4141788" cy="3816350"/>
          </a:xfrm>
          <a:prstGeom prst="rect">
            <a:avLst/>
          </a:prstGeom>
        </p:spPr>
        <p:txBody>
          <a:bodyPr/>
          <a:lstStyle>
            <a:lvl1pPr>
              <a:defRPr/>
            </a:lvl1pPr>
            <a:lvl2pPr>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18"/>
          </p:nvPr>
        </p:nvSpPr>
        <p:spPr/>
        <p:txBody>
          <a:bodyPr/>
          <a:lstStyle/>
          <a:p>
            <a:r>
              <a:rPr lang="de-DE" noProof="0" dirty="0"/>
              <a:t>© 2017</a:t>
            </a:r>
            <a:endParaRPr lang="en-US" noProof="0" dirty="0"/>
          </a:p>
        </p:txBody>
      </p:sp>
    </p:spTree>
    <p:extLst>
      <p:ext uri="{BB962C8B-B14F-4D97-AF65-F5344CB8AC3E}">
        <p14:creationId xmlns:p14="http://schemas.microsoft.com/office/powerpoint/2010/main" val="2477432028"/>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 (single-column) Sub headline">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en-US" noProof="0" dirty="0"/>
              <a:t>Editable name of event</a:t>
            </a:r>
          </a:p>
        </p:txBody>
      </p:sp>
      <p:sp>
        <p:nvSpPr>
          <p:cNvPr id="6" name="Textplatzhalter 5"/>
          <p:cNvSpPr>
            <a:spLocks noGrp="1"/>
          </p:cNvSpPr>
          <p:nvPr>
            <p:ph type="body" sz="quarter" idx="16" hasCustomPrompt="1"/>
          </p:nvPr>
        </p:nvSpPr>
        <p:spPr>
          <a:xfrm>
            <a:off x="250825" y="921703"/>
            <a:ext cx="8642350" cy="396875"/>
          </a:xfrm>
          <a:prstGeom prst="rect">
            <a:avLst/>
          </a:prstGeom>
        </p:spPr>
        <p:txBody>
          <a:bodyPr anchor="ctr"/>
          <a:lstStyle>
            <a:lvl1pPr marL="0" indent="0">
              <a:buNone/>
              <a:defRPr sz="1800" b="1" baseline="0"/>
            </a:lvl1pPr>
          </a:lstStyle>
          <a:p>
            <a:pPr lvl="0"/>
            <a:r>
              <a:rPr lang="en-US" noProof="0" dirty="0"/>
              <a:t>Click to add sub headline</a:t>
            </a:r>
          </a:p>
        </p:txBody>
      </p:sp>
      <p:sp>
        <p:nvSpPr>
          <p:cNvPr id="7" name="Titel 6"/>
          <p:cNvSpPr>
            <a:spLocks noGrp="1"/>
          </p:cNvSpPr>
          <p:nvPr>
            <p:ph type="title" hasCustomPrompt="1"/>
          </p:nvPr>
        </p:nvSpPr>
        <p:spPr/>
        <p:txBody>
          <a:bodyPr/>
          <a:lstStyle>
            <a:lvl1pPr>
              <a:defRPr/>
            </a:lvl1pPr>
          </a:lstStyle>
          <a:p>
            <a:r>
              <a:rPr lang="en-US" noProof="0" dirty="0"/>
              <a:t>Click to add title</a:t>
            </a:r>
          </a:p>
        </p:txBody>
      </p:sp>
      <p:sp>
        <p:nvSpPr>
          <p:cNvPr id="5" name="Textplatzhalter 4"/>
          <p:cNvSpPr>
            <a:spLocks noGrp="1"/>
          </p:cNvSpPr>
          <p:nvPr>
            <p:ph type="body" sz="quarter" idx="17" hasCustomPrompt="1"/>
          </p:nvPr>
        </p:nvSpPr>
        <p:spPr>
          <a:xfrm>
            <a:off x="250824" y="1432800"/>
            <a:ext cx="8640000" cy="3301200"/>
          </a:xfrm>
          <a:prstGeom prst="rect">
            <a:avLst/>
          </a:prstGeom>
        </p:spPr>
        <p:txBody>
          <a:bodyPr/>
          <a:lstStyle>
            <a:lvl1pPr>
              <a:defRPr/>
            </a:lvl1pPr>
            <a:lvl2pPr>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18"/>
          </p:nvPr>
        </p:nvSpPr>
        <p:spPr/>
        <p:txBody>
          <a:bodyPr/>
          <a:lstStyle/>
          <a:p>
            <a:r>
              <a:rPr lang="de-DE" noProof="0" dirty="0"/>
              <a:t>© 2017</a:t>
            </a:r>
            <a:endParaRPr lang="en-US" noProof="0" dirty="0"/>
          </a:p>
        </p:txBody>
      </p:sp>
    </p:spTree>
    <p:extLst>
      <p:ext uri="{BB962C8B-B14F-4D97-AF65-F5344CB8AC3E}">
        <p14:creationId xmlns:p14="http://schemas.microsoft.com/office/powerpoint/2010/main" val="966560455"/>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Picture Rhombus">
    <p:spTree>
      <p:nvGrpSpPr>
        <p:cNvPr id="1" name=""/>
        <p:cNvGrpSpPr/>
        <p:nvPr/>
      </p:nvGrpSpPr>
      <p:grpSpPr>
        <a:xfrm>
          <a:off x="0" y="0"/>
          <a:ext cx="0" cy="0"/>
          <a:chOff x="0" y="0"/>
          <a:chExt cx="0" cy="0"/>
        </a:xfrm>
      </p:grpSpPr>
      <p:sp>
        <p:nvSpPr>
          <p:cNvPr id="21" name="Bildplatzhalter 20"/>
          <p:cNvSpPr>
            <a:spLocks noGrp="1" noChangeAspect="1"/>
          </p:cNvSpPr>
          <p:nvPr>
            <p:ph type="pic" sz="quarter" idx="16" hasCustomPrompt="1"/>
          </p:nvPr>
        </p:nvSpPr>
        <p:spPr>
          <a:xfrm>
            <a:off x="4761864" y="1082040"/>
            <a:ext cx="4141789" cy="3241274"/>
          </a:xfrm>
          <a:custGeom>
            <a:avLst/>
            <a:gdLst>
              <a:gd name="connsiteX0" fmla="*/ 783741 w 3664734"/>
              <a:gd name="connsiteY0" fmla="*/ 0 h 2489542"/>
              <a:gd name="connsiteX1" fmla="*/ 2943299 w 3664734"/>
              <a:gd name="connsiteY1" fmla="*/ 4182 h 2489542"/>
              <a:gd name="connsiteX2" fmla="*/ 2943299 w 3664734"/>
              <a:gd name="connsiteY2" fmla="*/ 4190 h 2489542"/>
              <a:gd name="connsiteX3" fmla="*/ 2973748 w 3664734"/>
              <a:gd name="connsiteY3" fmla="*/ 3542 h 2489542"/>
              <a:gd name="connsiteX4" fmla="*/ 3213318 w 3664734"/>
              <a:gd name="connsiteY4" fmla="*/ 3248 h 2489542"/>
              <a:gd name="connsiteX5" fmla="*/ 3353570 w 3664734"/>
              <a:gd name="connsiteY5" fmla="*/ 989 h 2489542"/>
              <a:gd name="connsiteX6" fmla="*/ 3649646 w 3664734"/>
              <a:gd name="connsiteY6" fmla="*/ 402839 h 2489542"/>
              <a:gd name="connsiteX7" fmla="*/ 3303363 w 3664734"/>
              <a:gd name="connsiteY7" fmla="*/ 2076484 h 2489542"/>
              <a:gd name="connsiteX8" fmla="*/ 2880993 w 3664734"/>
              <a:gd name="connsiteY8" fmla="*/ 2489542 h 2489542"/>
              <a:gd name="connsiteX9" fmla="*/ 721435 w 3664734"/>
              <a:gd name="connsiteY9" fmla="*/ 2485360 h 2489542"/>
              <a:gd name="connsiteX10" fmla="*/ 721435 w 3664734"/>
              <a:gd name="connsiteY10" fmla="*/ 2485352 h 2489542"/>
              <a:gd name="connsiteX11" fmla="*/ 690987 w 3664734"/>
              <a:gd name="connsiteY11" fmla="*/ 2485999 h 2489542"/>
              <a:gd name="connsiteX12" fmla="*/ 451416 w 3664734"/>
              <a:gd name="connsiteY12" fmla="*/ 2486294 h 2489542"/>
              <a:gd name="connsiteX13" fmla="*/ 311164 w 3664734"/>
              <a:gd name="connsiteY13" fmla="*/ 2488553 h 2489542"/>
              <a:gd name="connsiteX14" fmla="*/ 15088 w 3664734"/>
              <a:gd name="connsiteY14" fmla="*/ 2086703 h 2489542"/>
              <a:gd name="connsiteX15" fmla="*/ 361371 w 3664734"/>
              <a:gd name="connsiteY15" fmla="*/ 413058 h 2489542"/>
              <a:gd name="connsiteX16" fmla="*/ 783741 w 3664734"/>
              <a:gd name="connsiteY16" fmla="*/ 0 h 248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64734" h="2489542">
                <a:moveTo>
                  <a:pt x="783741" y="0"/>
                </a:moveTo>
                <a:lnTo>
                  <a:pt x="2943299" y="4182"/>
                </a:lnTo>
                <a:lnTo>
                  <a:pt x="2943299" y="4190"/>
                </a:lnTo>
                <a:lnTo>
                  <a:pt x="2973748" y="3542"/>
                </a:lnTo>
                <a:cubicBezTo>
                  <a:pt x="3130753" y="134"/>
                  <a:pt x="2914154" y="3898"/>
                  <a:pt x="3213318" y="3248"/>
                </a:cubicBezTo>
                <a:cubicBezTo>
                  <a:pt x="3265269" y="-121"/>
                  <a:pt x="3311880" y="-858"/>
                  <a:pt x="3353570" y="989"/>
                </a:cubicBezTo>
                <a:cubicBezTo>
                  <a:pt x="3645400" y="13916"/>
                  <a:pt x="3696116" y="153448"/>
                  <a:pt x="3649646" y="402839"/>
                </a:cubicBezTo>
                <a:lnTo>
                  <a:pt x="3303363" y="2076484"/>
                </a:lnTo>
                <a:cubicBezTo>
                  <a:pt x="3272714" y="2319233"/>
                  <a:pt x="3104106" y="2489542"/>
                  <a:pt x="2880993" y="2489542"/>
                </a:cubicBezTo>
                <a:lnTo>
                  <a:pt x="721435" y="2485360"/>
                </a:lnTo>
                <a:lnTo>
                  <a:pt x="721435" y="2485352"/>
                </a:lnTo>
                <a:lnTo>
                  <a:pt x="690987" y="2485999"/>
                </a:lnTo>
                <a:cubicBezTo>
                  <a:pt x="533981" y="2489407"/>
                  <a:pt x="750580" y="2485644"/>
                  <a:pt x="451416" y="2486294"/>
                </a:cubicBezTo>
                <a:cubicBezTo>
                  <a:pt x="399465" y="2489663"/>
                  <a:pt x="352854" y="2490400"/>
                  <a:pt x="311164" y="2488553"/>
                </a:cubicBezTo>
                <a:cubicBezTo>
                  <a:pt x="19334" y="2475626"/>
                  <a:pt x="-31382" y="2336094"/>
                  <a:pt x="15088" y="2086703"/>
                </a:cubicBezTo>
                <a:lnTo>
                  <a:pt x="361371" y="413058"/>
                </a:lnTo>
                <a:cubicBezTo>
                  <a:pt x="392020" y="170309"/>
                  <a:pt x="560628" y="0"/>
                  <a:pt x="783741" y="0"/>
                </a:cubicBezTo>
                <a:close/>
              </a:path>
            </a:pathLst>
          </a:custGeom>
        </p:spPr>
        <p:txBody>
          <a:bodyPr wrap="square">
            <a:noAutofit/>
          </a:bodyPr>
          <a:lstStyle>
            <a:lvl1pPr marL="0" indent="0">
              <a:buNone/>
              <a:defRPr/>
            </a:lvl1pPr>
          </a:lstStyle>
          <a:p>
            <a:r>
              <a:rPr lang="en-US" noProof="0" dirty="0"/>
              <a:t>		</a:t>
            </a:r>
          </a:p>
          <a:p>
            <a:r>
              <a:rPr lang="en-US" noProof="0" dirty="0"/>
              <a:t>			</a:t>
            </a:r>
          </a:p>
          <a:p>
            <a:r>
              <a:rPr lang="en-US" noProof="0" dirty="0"/>
              <a:t>	    Click to add picture</a:t>
            </a:r>
          </a:p>
        </p:txBody>
      </p:sp>
      <p:sp>
        <p:nvSpPr>
          <p:cNvPr id="2" name="Fußzeilenplatzhalter 1"/>
          <p:cNvSpPr>
            <a:spLocks noGrp="1"/>
          </p:cNvSpPr>
          <p:nvPr>
            <p:ph type="ftr" sz="quarter" idx="19"/>
          </p:nvPr>
        </p:nvSpPr>
        <p:spPr/>
        <p:txBody>
          <a:bodyPr/>
          <a:lstStyle/>
          <a:p>
            <a:r>
              <a:rPr lang="en-US" noProof="0" dirty="0"/>
              <a:t>Editable name of event</a:t>
            </a:r>
          </a:p>
        </p:txBody>
      </p:sp>
      <p:sp>
        <p:nvSpPr>
          <p:cNvPr id="7" name="Foliennummernplatzhalter 1"/>
          <p:cNvSpPr>
            <a:spLocks noGrp="1"/>
          </p:cNvSpPr>
          <p:nvPr>
            <p:ph type="sldNum" sz="quarter" idx="4"/>
          </p:nvPr>
        </p:nvSpPr>
        <p:spPr>
          <a:xfrm>
            <a:off x="8408119" y="4818324"/>
            <a:ext cx="536121" cy="264684"/>
          </a:xfrm>
          <a:prstGeom prst="rect">
            <a:avLst/>
          </a:prstGeom>
        </p:spPr>
        <p:txBody>
          <a:bodyPr vert="horz" lIns="91440" tIns="45720" rIns="91440" bIns="45720" rtlCol="0" anchor="ctr"/>
          <a:lstStyle>
            <a:lvl1pPr algn="r">
              <a:defRPr sz="1200">
                <a:solidFill>
                  <a:schemeClr val="bg1"/>
                </a:solidFill>
              </a:defRPr>
            </a:lvl1pPr>
          </a:lstStyle>
          <a:p>
            <a:fld id="{F0B876DB-ED65-473E-9C95-7A5D374C8C64}" type="slidenum">
              <a:rPr lang="en-US" noProof="0" smtClean="0"/>
              <a:pPr/>
              <a:t>‹#›</a:t>
            </a:fld>
            <a:endParaRPr lang="en-US" noProof="0" dirty="0"/>
          </a:p>
        </p:txBody>
      </p:sp>
      <p:sp>
        <p:nvSpPr>
          <p:cNvPr id="5" name="Textplatzhalter 4"/>
          <p:cNvSpPr>
            <a:spLocks noGrp="1"/>
          </p:cNvSpPr>
          <p:nvPr>
            <p:ph type="body" sz="quarter" idx="20" hasCustomPrompt="1"/>
          </p:nvPr>
        </p:nvSpPr>
        <p:spPr>
          <a:xfrm>
            <a:off x="4761865" y="4373862"/>
            <a:ext cx="4141788" cy="341312"/>
          </a:xfrm>
          <a:prstGeom prst="rect">
            <a:avLst/>
          </a:prstGeom>
        </p:spPr>
        <p:txBody>
          <a:bodyPr anchor="ctr"/>
          <a:lstStyle>
            <a:lvl1pPr marL="0" indent="0" algn="ctr">
              <a:buNone/>
              <a:defRPr sz="1800" baseline="0"/>
            </a:lvl1pPr>
          </a:lstStyle>
          <a:p>
            <a:pPr lvl="0"/>
            <a:r>
              <a:rPr lang="en-US" noProof="0" dirty="0"/>
              <a:t>Click to add picture title</a:t>
            </a:r>
          </a:p>
        </p:txBody>
      </p:sp>
      <p:sp>
        <p:nvSpPr>
          <p:cNvPr id="8" name="Titel 7"/>
          <p:cNvSpPr>
            <a:spLocks noGrp="1"/>
          </p:cNvSpPr>
          <p:nvPr>
            <p:ph type="title" hasCustomPrompt="1"/>
          </p:nvPr>
        </p:nvSpPr>
        <p:spPr/>
        <p:txBody>
          <a:bodyPr/>
          <a:lstStyle>
            <a:lvl1pPr>
              <a:defRPr/>
            </a:lvl1pPr>
          </a:lstStyle>
          <a:p>
            <a:r>
              <a:rPr lang="en-US" noProof="0" dirty="0"/>
              <a:t>Click to add title</a:t>
            </a:r>
          </a:p>
        </p:txBody>
      </p:sp>
      <p:sp>
        <p:nvSpPr>
          <p:cNvPr id="11" name="Textplatzhalter 6"/>
          <p:cNvSpPr>
            <a:spLocks noGrp="1"/>
          </p:cNvSpPr>
          <p:nvPr>
            <p:ph type="body" sz="quarter" idx="21" hasCustomPrompt="1"/>
          </p:nvPr>
        </p:nvSpPr>
        <p:spPr>
          <a:xfrm>
            <a:off x="250825" y="914400"/>
            <a:ext cx="4141788" cy="3816350"/>
          </a:xfrm>
          <a:prstGeom prst="rect">
            <a:avLst/>
          </a:prstGeom>
        </p:spPr>
        <p:txBody>
          <a:bodyPr/>
          <a:lstStyle>
            <a:lvl1pPr>
              <a:defRPr/>
            </a:lvl1pPr>
            <a:lvl2pPr>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22"/>
          </p:nvPr>
        </p:nvSpPr>
        <p:spPr/>
        <p:txBody>
          <a:bodyPr/>
          <a:lstStyle/>
          <a:p>
            <a:r>
              <a:rPr lang="de-DE" noProof="0" dirty="0"/>
              <a:t>© 2017</a:t>
            </a:r>
            <a:endParaRPr lang="en-US" noProof="0" dirty="0"/>
          </a:p>
        </p:txBody>
      </p:sp>
    </p:spTree>
    <p:extLst>
      <p:ext uri="{BB962C8B-B14F-4D97-AF65-F5344CB8AC3E}">
        <p14:creationId xmlns:p14="http://schemas.microsoft.com/office/powerpoint/2010/main" val="31313265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Rhombus + Text">
    <p:spTree>
      <p:nvGrpSpPr>
        <p:cNvPr id="1" name=""/>
        <p:cNvGrpSpPr/>
        <p:nvPr/>
      </p:nvGrpSpPr>
      <p:grpSpPr>
        <a:xfrm>
          <a:off x="0" y="0"/>
          <a:ext cx="0" cy="0"/>
          <a:chOff x="0" y="0"/>
          <a:chExt cx="0" cy="0"/>
        </a:xfrm>
      </p:grpSpPr>
      <p:sp>
        <p:nvSpPr>
          <p:cNvPr id="21" name="Bildplatzhalter 20"/>
          <p:cNvSpPr>
            <a:spLocks noGrp="1" noChangeAspect="1"/>
          </p:cNvSpPr>
          <p:nvPr>
            <p:ph type="pic" sz="quarter" idx="16" hasCustomPrompt="1"/>
          </p:nvPr>
        </p:nvSpPr>
        <p:spPr>
          <a:xfrm>
            <a:off x="252000" y="1082040"/>
            <a:ext cx="4141789" cy="3241274"/>
          </a:xfrm>
          <a:custGeom>
            <a:avLst/>
            <a:gdLst>
              <a:gd name="connsiteX0" fmla="*/ 783741 w 3664734"/>
              <a:gd name="connsiteY0" fmla="*/ 0 h 2489542"/>
              <a:gd name="connsiteX1" fmla="*/ 2943299 w 3664734"/>
              <a:gd name="connsiteY1" fmla="*/ 4182 h 2489542"/>
              <a:gd name="connsiteX2" fmla="*/ 2943299 w 3664734"/>
              <a:gd name="connsiteY2" fmla="*/ 4190 h 2489542"/>
              <a:gd name="connsiteX3" fmla="*/ 2973748 w 3664734"/>
              <a:gd name="connsiteY3" fmla="*/ 3542 h 2489542"/>
              <a:gd name="connsiteX4" fmla="*/ 3213318 w 3664734"/>
              <a:gd name="connsiteY4" fmla="*/ 3248 h 2489542"/>
              <a:gd name="connsiteX5" fmla="*/ 3353570 w 3664734"/>
              <a:gd name="connsiteY5" fmla="*/ 989 h 2489542"/>
              <a:gd name="connsiteX6" fmla="*/ 3649646 w 3664734"/>
              <a:gd name="connsiteY6" fmla="*/ 402839 h 2489542"/>
              <a:gd name="connsiteX7" fmla="*/ 3303363 w 3664734"/>
              <a:gd name="connsiteY7" fmla="*/ 2076484 h 2489542"/>
              <a:gd name="connsiteX8" fmla="*/ 2880993 w 3664734"/>
              <a:gd name="connsiteY8" fmla="*/ 2489542 h 2489542"/>
              <a:gd name="connsiteX9" fmla="*/ 721435 w 3664734"/>
              <a:gd name="connsiteY9" fmla="*/ 2485360 h 2489542"/>
              <a:gd name="connsiteX10" fmla="*/ 721435 w 3664734"/>
              <a:gd name="connsiteY10" fmla="*/ 2485352 h 2489542"/>
              <a:gd name="connsiteX11" fmla="*/ 690987 w 3664734"/>
              <a:gd name="connsiteY11" fmla="*/ 2485999 h 2489542"/>
              <a:gd name="connsiteX12" fmla="*/ 451416 w 3664734"/>
              <a:gd name="connsiteY12" fmla="*/ 2486294 h 2489542"/>
              <a:gd name="connsiteX13" fmla="*/ 311164 w 3664734"/>
              <a:gd name="connsiteY13" fmla="*/ 2488553 h 2489542"/>
              <a:gd name="connsiteX14" fmla="*/ 15088 w 3664734"/>
              <a:gd name="connsiteY14" fmla="*/ 2086703 h 2489542"/>
              <a:gd name="connsiteX15" fmla="*/ 361371 w 3664734"/>
              <a:gd name="connsiteY15" fmla="*/ 413058 h 2489542"/>
              <a:gd name="connsiteX16" fmla="*/ 783741 w 3664734"/>
              <a:gd name="connsiteY16" fmla="*/ 0 h 248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64734" h="2489542">
                <a:moveTo>
                  <a:pt x="783741" y="0"/>
                </a:moveTo>
                <a:lnTo>
                  <a:pt x="2943299" y="4182"/>
                </a:lnTo>
                <a:lnTo>
                  <a:pt x="2943299" y="4190"/>
                </a:lnTo>
                <a:lnTo>
                  <a:pt x="2973748" y="3542"/>
                </a:lnTo>
                <a:cubicBezTo>
                  <a:pt x="3130753" y="134"/>
                  <a:pt x="2914154" y="3898"/>
                  <a:pt x="3213318" y="3248"/>
                </a:cubicBezTo>
                <a:cubicBezTo>
                  <a:pt x="3265269" y="-121"/>
                  <a:pt x="3311880" y="-858"/>
                  <a:pt x="3353570" y="989"/>
                </a:cubicBezTo>
                <a:cubicBezTo>
                  <a:pt x="3645400" y="13916"/>
                  <a:pt x="3696116" y="153448"/>
                  <a:pt x="3649646" y="402839"/>
                </a:cubicBezTo>
                <a:lnTo>
                  <a:pt x="3303363" y="2076484"/>
                </a:lnTo>
                <a:cubicBezTo>
                  <a:pt x="3272714" y="2319233"/>
                  <a:pt x="3104106" y="2489542"/>
                  <a:pt x="2880993" y="2489542"/>
                </a:cubicBezTo>
                <a:lnTo>
                  <a:pt x="721435" y="2485360"/>
                </a:lnTo>
                <a:lnTo>
                  <a:pt x="721435" y="2485352"/>
                </a:lnTo>
                <a:lnTo>
                  <a:pt x="690987" y="2485999"/>
                </a:lnTo>
                <a:cubicBezTo>
                  <a:pt x="533981" y="2489407"/>
                  <a:pt x="750580" y="2485644"/>
                  <a:pt x="451416" y="2486294"/>
                </a:cubicBezTo>
                <a:cubicBezTo>
                  <a:pt x="399465" y="2489663"/>
                  <a:pt x="352854" y="2490400"/>
                  <a:pt x="311164" y="2488553"/>
                </a:cubicBezTo>
                <a:cubicBezTo>
                  <a:pt x="19334" y="2475626"/>
                  <a:pt x="-31382" y="2336094"/>
                  <a:pt x="15088" y="2086703"/>
                </a:cubicBezTo>
                <a:lnTo>
                  <a:pt x="361371" y="413058"/>
                </a:lnTo>
                <a:cubicBezTo>
                  <a:pt x="392020" y="170309"/>
                  <a:pt x="560628" y="0"/>
                  <a:pt x="783741" y="0"/>
                </a:cubicBezTo>
                <a:close/>
              </a:path>
            </a:pathLst>
          </a:custGeom>
        </p:spPr>
        <p:txBody>
          <a:bodyPr wrap="square">
            <a:noAutofit/>
          </a:bodyPr>
          <a:lstStyle>
            <a:lvl1pPr marL="0" indent="0">
              <a:buNone/>
              <a:defRPr/>
            </a:lvl1pPr>
          </a:lstStyle>
          <a:p>
            <a:r>
              <a:rPr lang="en-US" noProof="0" dirty="0"/>
              <a:t>		</a:t>
            </a:r>
          </a:p>
          <a:p>
            <a:r>
              <a:rPr lang="en-US" noProof="0" dirty="0"/>
              <a:t>			</a:t>
            </a:r>
          </a:p>
          <a:p>
            <a:r>
              <a:rPr lang="en-US" noProof="0" dirty="0"/>
              <a:t>	 Click to add picture</a:t>
            </a:r>
          </a:p>
        </p:txBody>
      </p:sp>
      <p:sp>
        <p:nvSpPr>
          <p:cNvPr id="2" name="Fußzeilenplatzhalter 1"/>
          <p:cNvSpPr>
            <a:spLocks noGrp="1"/>
          </p:cNvSpPr>
          <p:nvPr>
            <p:ph type="ftr" sz="quarter" idx="19"/>
          </p:nvPr>
        </p:nvSpPr>
        <p:spPr/>
        <p:txBody>
          <a:bodyPr/>
          <a:lstStyle/>
          <a:p>
            <a:r>
              <a:rPr lang="en-US" noProof="0" dirty="0"/>
              <a:t>Editable name of event</a:t>
            </a:r>
          </a:p>
        </p:txBody>
      </p:sp>
      <p:sp>
        <p:nvSpPr>
          <p:cNvPr id="7" name="Foliennummernplatzhalter 1"/>
          <p:cNvSpPr>
            <a:spLocks noGrp="1"/>
          </p:cNvSpPr>
          <p:nvPr>
            <p:ph type="sldNum" sz="quarter" idx="4"/>
          </p:nvPr>
        </p:nvSpPr>
        <p:spPr>
          <a:xfrm>
            <a:off x="8408119" y="4818324"/>
            <a:ext cx="536121" cy="264684"/>
          </a:xfrm>
          <a:prstGeom prst="rect">
            <a:avLst/>
          </a:prstGeom>
        </p:spPr>
        <p:txBody>
          <a:bodyPr vert="horz" lIns="91440" tIns="45720" rIns="91440" bIns="45720" rtlCol="0" anchor="ctr"/>
          <a:lstStyle>
            <a:lvl1pPr algn="r">
              <a:defRPr sz="1200">
                <a:solidFill>
                  <a:schemeClr val="bg1"/>
                </a:solidFill>
              </a:defRPr>
            </a:lvl1pPr>
          </a:lstStyle>
          <a:p>
            <a:fld id="{F0B876DB-ED65-473E-9C95-7A5D374C8C64}" type="slidenum">
              <a:rPr lang="en-US" noProof="0" smtClean="0"/>
              <a:pPr/>
              <a:t>‹#›</a:t>
            </a:fld>
            <a:endParaRPr lang="en-US" noProof="0" dirty="0"/>
          </a:p>
        </p:txBody>
      </p:sp>
      <p:sp>
        <p:nvSpPr>
          <p:cNvPr id="5" name="Textplatzhalter 4"/>
          <p:cNvSpPr>
            <a:spLocks noGrp="1"/>
          </p:cNvSpPr>
          <p:nvPr>
            <p:ph type="body" sz="quarter" idx="20" hasCustomPrompt="1"/>
          </p:nvPr>
        </p:nvSpPr>
        <p:spPr>
          <a:xfrm>
            <a:off x="252000" y="4373862"/>
            <a:ext cx="4141788" cy="341312"/>
          </a:xfrm>
          <a:prstGeom prst="rect">
            <a:avLst/>
          </a:prstGeom>
        </p:spPr>
        <p:txBody>
          <a:bodyPr anchor="ctr"/>
          <a:lstStyle>
            <a:lvl1pPr marL="0" indent="0" algn="ctr">
              <a:buNone/>
              <a:defRPr sz="1800" baseline="0"/>
            </a:lvl1pPr>
          </a:lstStyle>
          <a:p>
            <a:pPr lvl="0"/>
            <a:r>
              <a:rPr lang="en-US" noProof="0" dirty="0"/>
              <a:t>Click to add picture title</a:t>
            </a:r>
          </a:p>
        </p:txBody>
      </p:sp>
      <p:sp>
        <p:nvSpPr>
          <p:cNvPr id="8" name="Titel 7"/>
          <p:cNvSpPr>
            <a:spLocks noGrp="1"/>
          </p:cNvSpPr>
          <p:nvPr>
            <p:ph type="title" hasCustomPrompt="1"/>
          </p:nvPr>
        </p:nvSpPr>
        <p:spPr/>
        <p:txBody>
          <a:bodyPr/>
          <a:lstStyle>
            <a:lvl1pPr>
              <a:defRPr/>
            </a:lvl1pPr>
          </a:lstStyle>
          <a:p>
            <a:r>
              <a:rPr lang="en-US" noProof="0" dirty="0"/>
              <a:t>Click to add title</a:t>
            </a:r>
          </a:p>
        </p:txBody>
      </p:sp>
      <p:sp>
        <p:nvSpPr>
          <p:cNvPr id="11" name="Textplatzhalter 6"/>
          <p:cNvSpPr>
            <a:spLocks noGrp="1"/>
          </p:cNvSpPr>
          <p:nvPr>
            <p:ph type="body" sz="quarter" idx="21" hasCustomPrompt="1"/>
          </p:nvPr>
        </p:nvSpPr>
        <p:spPr>
          <a:xfrm>
            <a:off x="4762800" y="914400"/>
            <a:ext cx="4141788" cy="3816350"/>
          </a:xfrm>
          <a:prstGeom prst="rect">
            <a:avLst/>
          </a:prstGeom>
        </p:spPr>
        <p:txBody>
          <a:bodyPr/>
          <a:lstStyle>
            <a:lvl1pPr>
              <a:defRPr/>
            </a:lvl1pPr>
            <a:lvl2pPr>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22"/>
          </p:nvPr>
        </p:nvSpPr>
        <p:spPr/>
        <p:txBody>
          <a:bodyPr/>
          <a:lstStyle/>
          <a:p>
            <a:r>
              <a:rPr lang="de-DE" noProof="0" dirty="0"/>
              <a:t>© 2017</a:t>
            </a:r>
            <a:endParaRPr lang="en-US" noProof="0" dirty="0"/>
          </a:p>
        </p:txBody>
      </p:sp>
    </p:spTree>
    <p:extLst>
      <p:ext uri="{BB962C8B-B14F-4D97-AF65-F5344CB8AC3E}">
        <p14:creationId xmlns:p14="http://schemas.microsoft.com/office/powerpoint/2010/main" val="24675930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Picture Rectangular">
    <p:spTree>
      <p:nvGrpSpPr>
        <p:cNvPr id="1" name=""/>
        <p:cNvGrpSpPr/>
        <p:nvPr/>
      </p:nvGrpSpPr>
      <p:grpSpPr>
        <a:xfrm>
          <a:off x="0" y="0"/>
          <a:ext cx="0" cy="0"/>
          <a:chOff x="0" y="0"/>
          <a:chExt cx="0" cy="0"/>
        </a:xfrm>
      </p:grpSpPr>
      <p:sp>
        <p:nvSpPr>
          <p:cNvPr id="21" name="Bildplatzhalter 20"/>
          <p:cNvSpPr>
            <a:spLocks noGrp="1" noChangeAspect="1"/>
          </p:cNvSpPr>
          <p:nvPr>
            <p:ph type="pic" sz="quarter" idx="16" hasCustomPrompt="1"/>
          </p:nvPr>
        </p:nvSpPr>
        <p:spPr>
          <a:xfrm>
            <a:off x="4761865" y="915988"/>
            <a:ext cx="4130506" cy="3450653"/>
          </a:xfrm>
          <a:prstGeom prst="rect">
            <a:avLst/>
          </a:prstGeom>
        </p:spPr>
        <p:txBody>
          <a:bodyPr wrap="square">
            <a:noAutofit/>
          </a:bodyPr>
          <a:lstStyle>
            <a:lvl1pPr marL="0" indent="0">
              <a:buNone/>
              <a:defRPr baseline="0"/>
            </a:lvl1pPr>
          </a:lstStyle>
          <a:p>
            <a:r>
              <a:rPr lang="en-US" noProof="0" dirty="0"/>
              <a:t>		</a:t>
            </a:r>
          </a:p>
          <a:p>
            <a:r>
              <a:rPr lang="en-US" noProof="0" dirty="0"/>
              <a:t>			</a:t>
            </a:r>
          </a:p>
          <a:p>
            <a:r>
              <a:rPr lang="en-US" noProof="0" dirty="0"/>
              <a:t>	Click to add picture </a:t>
            </a:r>
          </a:p>
        </p:txBody>
      </p:sp>
      <p:sp>
        <p:nvSpPr>
          <p:cNvPr id="2" name="Fußzeilenplatzhalter 1"/>
          <p:cNvSpPr>
            <a:spLocks noGrp="1"/>
          </p:cNvSpPr>
          <p:nvPr>
            <p:ph type="ftr" sz="quarter" idx="19"/>
          </p:nvPr>
        </p:nvSpPr>
        <p:spPr/>
        <p:txBody>
          <a:bodyPr/>
          <a:lstStyle/>
          <a:p>
            <a:r>
              <a:rPr lang="en-US" noProof="0" dirty="0"/>
              <a:t>Editable name of event</a:t>
            </a:r>
          </a:p>
        </p:txBody>
      </p:sp>
      <p:sp>
        <p:nvSpPr>
          <p:cNvPr id="7" name="Foliennummernplatzhalter 1"/>
          <p:cNvSpPr>
            <a:spLocks noGrp="1"/>
          </p:cNvSpPr>
          <p:nvPr>
            <p:ph type="sldNum" sz="quarter" idx="4"/>
          </p:nvPr>
        </p:nvSpPr>
        <p:spPr>
          <a:xfrm>
            <a:off x="8408119" y="4818324"/>
            <a:ext cx="536121" cy="264684"/>
          </a:xfrm>
          <a:prstGeom prst="rect">
            <a:avLst/>
          </a:prstGeom>
        </p:spPr>
        <p:txBody>
          <a:bodyPr vert="horz" lIns="91440" tIns="45720" rIns="91440" bIns="45720" rtlCol="0" anchor="ctr"/>
          <a:lstStyle>
            <a:lvl1pPr algn="r">
              <a:defRPr sz="1200">
                <a:solidFill>
                  <a:schemeClr val="bg1"/>
                </a:solidFill>
              </a:defRPr>
            </a:lvl1pPr>
          </a:lstStyle>
          <a:p>
            <a:fld id="{F0B876DB-ED65-473E-9C95-7A5D374C8C64}" type="slidenum">
              <a:rPr lang="en-US" noProof="0" smtClean="0"/>
              <a:pPr/>
              <a:t>‹#›</a:t>
            </a:fld>
            <a:endParaRPr lang="en-US" noProof="0" dirty="0"/>
          </a:p>
        </p:txBody>
      </p:sp>
      <p:sp>
        <p:nvSpPr>
          <p:cNvPr id="5" name="Textplatzhalter 4"/>
          <p:cNvSpPr>
            <a:spLocks noGrp="1"/>
          </p:cNvSpPr>
          <p:nvPr>
            <p:ph type="body" sz="quarter" idx="20" hasCustomPrompt="1"/>
          </p:nvPr>
        </p:nvSpPr>
        <p:spPr>
          <a:xfrm>
            <a:off x="4761865" y="4381482"/>
            <a:ext cx="4130505" cy="341312"/>
          </a:xfrm>
          <a:prstGeom prst="rect">
            <a:avLst/>
          </a:prstGeom>
        </p:spPr>
        <p:txBody>
          <a:bodyPr anchor="ctr"/>
          <a:lstStyle>
            <a:lvl1pPr marL="0" indent="0" algn="ctr">
              <a:buNone/>
              <a:defRPr sz="1800" baseline="0"/>
            </a:lvl1pPr>
          </a:lstStyle>
          <a:p>
            <a:pPr lvl="0"/>
            <a:r>
              <a:rPr lang="en-US" noProof="0" dirty="0"/>
              <a:t>Click to add picture title</a:t>
            </a:r>
          </a:p>
        </p:txBody>
      </p:sp>
      <p:sp>
        <p:nvSpPr>
          <p:cNvPr id="4" name="Titel 3"/>
          <p:cNvSpPr>
            <a:spLocks noGrp="1"/>
          </p:cNvSpPr>
          <p:nvPr>
            <p:ph type="title" hasCustomPrompt="1"/>
          </p:nvPr>
        </p:nvSpPr>
        <p:spPr/>
        <p:txBody>
          <a:bodyPr/>
          <a:lstStyle>
            <a:lvl1pPr>
              <a:defRPr/>
            </a:lvl1pPr>
          </a:lstStyle>
          <a:p>
            <a:r>
              <a:rPr lang="en-US" noProof="0" dirty="0"/>
              <a:t>Click to add title</a:t>
            </a:r>
          </a:p>
        </p:txBody>
      </p:sp>
      <p:sp>
        <p:nvSpPr>
          <p:cNvPr id="8" name="Textplatzhalter 6"/>
          <p:cNvSpPr>
            <a:spLocks noGrp="1"/>
          </p:cNvSpPr>
          <p:nvPr>
            <p:ph type="body" sz="quarter" idx="21" hasCustomPrompt="1"/>
          </p:nvPr>
        </p:nvSpPr>
        <p:spPr>
          <a:xfrm>
            <a:off x="250825" y="914400"/>
            <a:ext cx="4141788" cy="3816350"/>
          </a:xfrm>
          <a:prstGeom prst="rect">
            <a:avLst/>
          </a:prstGeom>
        </p:spPr>
        <p:txBody>
          <a:bodyPr/>
          <a:lstStyle>
            <a:lvl1pPr>
              <a:defRPr/>
            </a:lvl1pPr>
            <a:lvl2pPr>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22"/>
          </p:nvPr>
        </p:nvSpPr>
        <p:spPr/>
        <p:txBody>
          <a:bodyPr/>
          <a:lstStyle/>
          <a:p>
            <a:r>
              <a:rPr lang="de-DE" noProof="0" dirty="0"/>
              <a:t>© 2017</a:t>
            </a:r>
            <a:endParaRPr lang="en-US" noProof="0" dirty="0"/>
          </a:p>
        </p:txBody>
      </p:sp>
    </p:spTree>
    <p:extLst>
      <p:ext uri="{BB962C8B-B14F-4D97-AF65-F5344CB8AC3E}">
        <p14:creationId xmlns:p14="http://schemas.microsoft.com/office/powerpoint/2010/main" val="37750188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Rectangular + Text">
    <p:spTree>
      <p:nvGrpSpPr>
        <p:cNvPr id="1" name=""/>
        <p:cNvGrpSpPr/>
        <p:nvPr/>
      </p:nvGrpSpPr>
      <p:grpSpPr>
        <a:xfrm>
          <a:off x="0" y="0"/>
          <a:ext cx="0" cy="0"/>
          <a:chOff x="0" y="0"/>
          <a:chExt cx="0" cy="0"/>
        </a:xfrm>
      </p:grpSpPr>
      <p:sp>
        <p:nvSpPr>
          <p:cNvPr id="21" name="Bildplatzhalter 20"/>
          <p:cNvSpPr>
            <a:spLocks noGrp="1" noChangeAspect="1"/>
          </p:cNvSpPr>
          <p:nvPr>
            <p:ph type="pic" sz="quarter" idx="16" hasCustomPrompt="1"/>
          </p:nvPr>
        </p:nvSpPr>
        <p:spPr>
          <a:xfrm>
            <a:off x="252000" y="915988"/>
            <a:ext cx="4130506" cy="3450653"/>
          </a:xfrm>
          <a:prstGeom prst="rect">
            <a:avLst/>
          </a:prstGeom>
        </p:spPr>
        <p:txBody>
          <a:bodyPr wrap="square">
            <a:noAutofit/>
          </a:bodyPr>
          <a:lstStyle>
            <a:lvl1pPr marL="0" indent="0">
              <a:buNone/>
              <a:defRPr baseline="0"/>
            </a:lvl1pPr>
          </a:lstStyle>
          <a:p>
            <a:r>
              <a:rPr lang="en-US" noProof="0" dirty="0"/>
              <a:t>		</a:t>
            </a:r>
          </a:p>
          <a:p>
            <a:r>
              <a:rPr lang="en-US" noProof="0" dirty="0"/>
              <a:t>			</a:t>
            </a:r>
          </a:p>
          <a:p>
            <a:r>
              <a:rPr lang="en-US" noProof="0" dirty="0"/>
              <a:t>	    Click to add picture</a:t>
            </a:r>
          </a:p>
        </p:txBody>
      </p:sp>
      <p:sp>
        <p:nvSpPr>
          <p:cNvPr id="2" name="Fußzeilenplatzhalter 1"/>
          <p:cNvSpPr>
            <a:spLocks noGrp="1"/>
          </p:cNvSpPr>
          <p:nvPr>
            <p:ph type="ftr" sz="quarter" idx="19"/>
          </p:nvPr>
        </p:nvSpPr>
        <p:spPr/>
        <p:txBody>
          <a:bodyPr/>
          <a:lstStyle/>
          <a:p>
            <a:r>
              <a:rPr lang="en-US" noProof="0" dirty="0"/>
              <a:t>Editable name of event</a:t>
            </a:r>
          </a:p>
        </p:txBody>
      </p:sp>
      <p:sp>
        <p:nvSpPr>
          <p:cNvPr id="7" name="Foliennummernplatzhalter 1"/>
          <p:cNvSpPr>
            <a:spLocks noGrp="1"/>
          </p:cNvSpPr>
          <p:nvPr>
            <p:ph type="sldNum" sz="quarter" idx="4"/>
          </p:nvPr>
        </p:nvSpPr>
        <p:spPr>
          <a:xfrm>
            <a:off x="8408119" y="4818324"/>
            <a:ext cx="536121" cy="264684"/>
          </a:xfrm>
          <a:prstGeom prst="rect">
            <a:avLst/>
          </a:prstGeom>
        </p:spPr>
        <p:txBody>
          <a:bodyPr vert="horz" lIns="91440" tIns="45720" rIns="91440" bIns="45720" rtlCol="0" anchor="ctr"/>
          <a:lstStyle>
            <a:lvl1pPr algn="r">
              <a:defRPr sz="1200">
                <a:solidFill>
                  <a:schemeClr val="bg1"/>
                </a:solidFill>
              </a:defRPr>
            </a:lvl1pPr>
          </a:lstStyle>
          <a:p>
            <a:fld id="{F0B876DB-ED65-473E-9C95-7A5D374C8C64}" type="slidenum">
              <a:rPr lang="en-US" noProof="0" smtClean="0"/>
              <a:pPr/>
              <a:t>‹#›</a:t>
            </a:fld>
            <a:endParaRPr lang="en-US" noProof="0" dirty="0"/>
          </a:p>
        </p:txBody>
      </p:sp>
      <p:sp>
        <p:nvSpPr>
          <p:cNvPr id="5" name="Textplatzhalter 4"/>
          <p:cNvSpPr>
            <a:spLocks noGrp="1"/>
          </p:cNvSpPr>
          <p:nvPr>
            <p:ph type="body" sz="quarter" idx="20" hasCustomPrompt="1"/>
          </p:nvPr>
        </p:nvSpPr>
        <p:spPr>
          <a:xfrm>
            <a:off x="252000" y="4381482"/>
            <a:ext cx="4130505" cy="341312"/>
          </a:xfrm>
          <a:prstGeom prst="rect">
            <a:avLst/>
          </a:prstGeom>
        </p:spPr>
        <p:txBody>
          <a:bodyPr anchor="ctr"/>
          <a:lstStyle>
            <a:lvl1pPr marL="0" indent="0" algn="ctr">
              <a:buNone/>
              <a:defRPr sz="1800" baseline="0"/>
            </a:lvl1pPr>
          </a:lstStyle>
          <a:p>
            <a:pPr lvl="0"/>
            <a:r>
              <a:rPr lang="en-US" noProof="0" dirty="0"/>
              <a:t>Click to add picture title</a:t>
            </a:r>
          </a:p>
        </p:txBody>
      </p:sp>
      <p:sp>
        <p:nvSpPr>
          <p:cNvPr id="4" name="Titel 3"/>
          <p:cNvSpPr>
            <a:spLocks noGrp="1"/>
          </p:cNvSpPr>
          <p:nvPr>
            <p:ph type="title" hasCustomPrompt="1"/>
          </p:nvPr>
        </p:nvSpPr>
        <p:spPr/>
        <p:txBody>
          <a:bodyPr/>
          <a:lstStyle>
            <a:lvl1pPr>
              <a:defRPr/>
            </a:lvl1pPr>
          </a:lstStyle>
          <a:p>
            <a:r>
              <a:rPr lang="en-US" noProof="0" dirty="0"/>
              <a:t>Click to add title</a:t>
            </a:r>
          </a:p>
        </p:txBody>
      </p:sp>
      <p:sp>
        <p:nvSpPr>
          <p:cNvPr id="8" name="Textplatzhalter 6"/>
          <p:cNvSpPr>
            <a:spLocks noGrp="1"/>
          </p:cNvSpPr>
          <p:nvPr>
            <p:ph type="body" sz="quarter" idx="21" hasCustomPrompt="1"/>
          </p:nvPr>
        </p:nvSpPr>
        <p:spPr>
          <a:xfrm>
            <a:off x="4762800" y="914400"/>
            <a:ext cx="4141788" cy="3816350"/>
          </a:xfrm>
          <a:prstGeom prst="rect">
            <a:avLst/>
          </a:prstGeom>
        </p:spPr>
        <p:txBody>
          <a:bodyPr/>
          <a:lstStyle>
            <a:lvl1pPr>
              <a:defRPr/>
            </a:lvl1pPr>
            <a:lvl2pPr>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22"/>
          </p:nvPr>
        </p:nvSpPr>
        <p:spPr/>
        <p:txBody>
          <a:bodyPr/>
          <a:lstStyle/>
          <a:p>
            <a:r>
              <a:rPr lang="de-DE" noProof="0" dirty="0"/>
              <a:t>© 2017</a:t>
            </a:r>
            <a:endParaRPr lang="en-US" noProof="0" dirty="0"/>
          </a:p>
        </p:txBody>
      </p:sp>
    </p:spTree>
    <p:extLst>
      <p:ext uri="{BB962C8B-B14F-4D97-AF65-F5344CB8AC3E}">
        <p14:creationId xmlns:p14="http://schemas.microsoft.com/office/powerpoint/2010/main" val="19013967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png"/><Relationship Id="rId30"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Abgerundetes Rechteck 1"/>
          <p:cNvSpPr/>
          <p:nvPr userDrawn="1"/>
        </p:nvSpPr>
        <p:spPr>
          <a:xfrm>
            <a:off x="3528478" y="4818651"/>
            <a:ext cx="4550099" cy="264047"/>
          </a:xfrm>
          <a:custGeom>
            <a:avLst/>
            <a:gdLst>
              <a:gd name="connsiteX0" fmla="*/ 0 w 6224588"/>
              <a:gd name="connsiteY0" fmla="*/ 672088 h 4032448"/>
              <a:gd name="connsiteX1" fmla="*/ 672088 w 6224588"/>
              <a:gd name="connsiteY1" fmla="*/ 0 h 4032448"/>
              <a:gd name="connsiteX2" fmla="*/ 5552500 w 6224588"/>
              <a:gd name="connsiteY2" fmla="*/ 0 h 4032448"/>
              <a:gd name="connsiteX3" fmla="*/ 6224588 w 6224588"/>
              <a:gd name="connsiteY3" fmla="*/ 672088 h 4032448"/>
              <a:gd name="connsiteX4" fmla="*/ 6224588 w 6224588"/>
              <a:gd name="connsiteY4" fmla="*/ 3360360 h 4032448"/>
              <a:gd name="connsiteX5" fmla="*/ 5552500 w 6224588"/>
              <a:gd name="connsiteY5" fmla="*/ 4032448 h 4032448"/>
              <a:gd name="connsiteX6" fmla="*/ 672088 w 6224588"/>
              <a:gd name="connsiteY6" fmla="*/ 4032448 h 4032448"/>
              <a:gd name="connsiteX7" fmla="*/ 0 w 6224588"/>
              <a:gd name="connsiteY7" fmla="*/ 3360360 h 4032448"/>
              <a:gd name="connsiteX8" fmla="*/ 0 w 6224588"/>
              <a:gd name="connsiteY8" fmla="*/ 672088 h 4032448"/>
              <a:gd name="connsiteX0" fmla="*/ 0 w 6255181"/>
              <a:gd name="connsiteY0" fmla="*/ 672088 h 4032448"/>
              <a:gd name="connsiteX1" fmla="*/ 672088 w 6255181"/>
              <a:gd name="connsiteY1" fmla="*/ 0 h 4032448"/>
              <a:gd name="connsiteX2" fmla="*/ 5552500 w 6255181"/>
              <a:gd name="connsiteY2" fmla="*/ 0 h 4032448"/>
              <a:gd name="connsiteX3" fmla="*/ 6224588 w 6255181"/>
              <a:gd name="connsiteY3" fmla="*/ 672088 h 4032448"/>
              <a:gd name="connsiteX4" fmla="*/ 6255181 w 6255181"/>
              <a:gd name="connsiteY4" fmla="*/ 3360360 h 4032448"/>
              <a:gd name="connsiteX5" fmla="*/ 5552500 w 6255181"/>
              <a:gd name="connsiteY5" fmla="*/ 4032448 h 4032448"/>
              <a:gd name="connsiteX6" fmla="*/ 672088 w 6255181"/>
              <a:gd name="connsiteY6" fmla="*/ 4032448 h 4032448"/>
              <a:gd name="connsiteX7" fmla="*/ 0 w 6255181"/>
              <a:gd name="connsiteY7" fmla="*/ 3360360 h 4032448"/>
              <a:gd name="connsiteX8" fmla="*/ 0 w 6255181"/>
              <a:gd name="connsiteY8" fmla="*/ 672088 h 4032448"/>
              <a:gd name="connsiteX0" fmla="*/ 0 w 6255181"/>
              <a:gd name="connsiteY0" fmla="*/ 672088 h 4032448"/>
              <a:gd name="connsiteX1" fmla="*/ 672088 w 6255181"/>
              <a:gd name="connsiteY1" fmla="*/ 0 h 4032448"/>
              <a:gd name="connsiteX2" fmla="*/ 5552500 w 6255181"/>
              <a:gd name="connsiteY2" fmla="*/ 0 h 4032448"/>
              <a:gd name="connsiteX3" fmla="*/ 6224588 w 6255181"/>
              <a:gd name="connsiteY3" fmla="*/ 672088 h 4032448"/>
              <a:gd name="connsiteX4" fmla="*/ 6255181 w 6255181"/>
              <a:gd name="connsiteY4" fmla="*/ 3360360 h 4032448"/>
              <a:gd name="connsiteX5" fmla="*/ 5552500 w 6255181"/>
              <a:gd name="connsiteY5" fmla="*/ 4032448 h 4032448"/>
              <a:gd name="connsiteX6" fmla="*/ 672088 w 6255181"/>
              <a:gd name="connsiteY6" fmla="*/ 4032448 h 4032448"/>
              <a:gd name="connsiteX7" fmla="*/ 0 w 6255181"/>
              <a:gd name="connsiteY7" fmla="*/ 3360360 h 4032448"/>
              <a:gd name="connsiteX8" fmla="*/ 0 w 6255181"/>
              <a:gd name="connsiteY8" fmla="*/ 672088 h 4032448"/>
              <a:gd name="connsiteX0" fmla="*/ 0 w 6255181"/>
              <a:gd name="connsiteY0" fmla="*/ 672088 h 4032448"/>
              <a:gd name="connsiteX1" fmla="*/ 672088 w 6255181"/>
              <a:gd name="connsiteY1" fmla="*/ 0 h 4032448"/>
              <a:gd name="connsiteX2" fmla="*/ 5552500 w 6255181"/>
              <a:gd name="connsiteY2" fmla="*/ 0 h 4032448"/>
              <a:gd name="connsiteX3" fmla="*/ 6224588 w 6255181"/>
              <a:gd name="connsiteY3" fmla="*/ 672088 h 4032448"/>
              <a:gd name="connsiteX4" fmla="*/ 6255181 w 6255181"/>
              <a:gd name="connsiteY4" fmla="*/ 3360360 h 4032448"/>
              <a:gd name="connsiteX5" fmla="*/ 5552500 w 6255181"/>
              <a:gd name="connsiteY5" fmla="*/ 4032448 h 4032448"/>
              <a:gd name="connsiteX6" fmla="*/ 672088 w 6255181"/>
              <a:gd name="connsiteY6" fmla="*/ 4032448 h 4032448"/>
              <a:gd name="connsiteX7" fmla="*/ 0 w 6255181"/>
              <a:gd name="connsiteY7" fmla="*/ 3360360 h 4032448"/>
              <a:gd name="connsiteX8" fmla="*/ 0 w 6255181"/>
              <a:gd name="connsiteY8" fmla="*/ 672088 h 4032448"/>
              <a:gd name="connsiteX0" fmla="*/ 0 w 6831278"/>
              <a:gd name="connsiteY0" fmla="*/ 672088 h 4032448"/>
              <a:gd name="connsiteX1" fmla="*/ 672088 w 6831278"/>
              <a:gd name="connsiteY1" fmla="*/ 0 h 4032448"/>
              <a:gd name="connsiteX2" fmla="*/ 5552500 w 6831278"/>
              <a:gd name="connsiteY2" fmla="*/ 0 h 4032448"/>
              <a:gd name="connsiteX3" fmla="*/ 6831278 w 6831278"/>
              <a:gd name="connsiteY3" fmla="*/ 637171 h 4032448"/>
              <a:gd name="connsiteX4" fmla="*/ 6255181 w 6831278"/>
              <a:gd name="connsiteY4" fmla="*/ 3360360 h 4032448"/>
              <a:gd name="connsiteX5" fmla="*/ 5552500 w 6831278"/>
              <a:gd name="connsiteY5" fmla="*/ 4032448 h 4032448"/>
              <a:gd name="connsiteX6" fmla="*/ 672088 w 6831278"/>
              <a:gd name="connsiteY6" fmla="*/ 4032448 h 4032448"/>
              <a:gd name="connsiteX7" fmla="*/ 0 w 6831278"/>
              <a:gd name="connsiteY7" fmla="*/ 3360360 h 4032448"/>
              <a:gd name="connsiteX8" fmla="*/ 0 w 6831278"/>
              <a:gd name="connsiteY8" fmla="*/ 672088 h 4032448"/>
              <a:gd name="connsiteX0" fmla="*/ 0 w 6831278"/>
              <a:gd name="connsiteY0" fmla="*/ 672088 h 4032448"/>
              <a:gd name="connsiteX1" fmla="*/ 672088 w 6831278"/>
              <a:gd name="connsiteY1" fmla="*/ 0 h 4032448"/>
              <a:gd name="connsiteX2" fmla="*/ 5552500 w 6831278"/>
              <a:gd name="connsiteY2" fmla="*/ 0 h 4032448"/>
              <a:gd name="connsiteX3" fmla="*/ 6831278 w 6831278"/>
              <a:gd name="connsiteY3" fmla="*/ 637171 h 4032448"/>
              <a:gd name="connsiteX4" fmla="*/ 6255181 w 6831278"/>
              <a:gd name="connsiteY4" fmla="*/ 3360360 h 4032448"/>
              <a:gd name="connsiteX5" fmla="*/ 5552500 w 6831278"/>
              <a:gd name="connsiteY5" fmla="*/ 4032448 h 4032448"/>
              <a:gd name="connsiteX6" fmla="*/ 672088 w 6831278"/>
              <a:gd name="connsiteY6" fmla="*/ 4032448 h 4032448"/>
              <a:gd name="connsiteX7" fmla="*/ 0 w 6831278"/>
              <a:gd name="connsiteY7" fmla="*/ 3360360 h 4032448"/>
              <a:gd name="connsiteX8" fmla="*/ 0 w 6831278"/>
              <a:gd name="connsiteY8" fmla="*/ 672088 h 4032448"/>
              <a:gd name="connsiteX0" fmla="*/ 0 w 6860604"/>
              <a:gd name="connsiteY0" fmla="*/ 709311 h 4069671"/>
              <a:gd name="connsiteX1" fmla="*/ 672088 w 6860604"/>
              <a:gd name="connsiteY1" fmla="*/ 37223 h 4069671"/>
              <a:gd name="connsiteX2" fmla="*/ 5552500 w 6860604"/>
              <a:gd name="connsiteY2" fmla="*/ 37223 h 4069671"/>
              <a:gd name="connsiteX3" fmla="*/ 6831278 w 6860604"/>
              <a:gd name="connsiteY3" fmla="*/ 674394 h 4069671"/>
              <a:gd name="connsiteX4" fmla="*/ 6255181 w 6860604"/>
              <a:gd name="connsiteY4" fmla="*/ 3397583 h 4069671"/>
              <a:gd name="connsiteX5" fmla="*/ 5552500 w 6860604"/>
              <a:gd name="connsiteY5" fmla="*/ 4069671 h 4069671"/>
              <a:gd name="connsiteX6" fmla="*/ 672088 w 6860604"/>
              <a:gd name="connsiteY6" fmla="*/ 4069671 h 4069671"/>
              <a:gd name="connsiteX7" fmla="*/ 0 w 6860604"/>
              <a:gd name="connsiteY7" fmla="*/ 3397583 h 4069671"/>
              <a:gd name="connsiteX8" fmla="*/ 0 w 6860604"/>
              <a:gd name="connsiteY8" fmla="*/ 709311 h 4069671"/>
              <a:gd name="connsiteX0" fmla="*/ 0 w 6862665"/>
              <a:gd name="connsiteY0" fmla="*/ 680502 h 4040862"/>
              <a:gd name="connsiteX1" fmla="*/ 672088 w 6862665"/>
              <a:gd name="connsiteY1" fmla="*/ 8414 h 4040862"/>
              <a:gd name="connsiteX2" fmla="*/ 5552500 w 6862665"/>
              <a:gd name="connsiteY2" fmla="*/ 8414 h 4040862"/>
              <a:gd name="connsiteX3" fmla="*/ 6831278 w 6862665"/>
              <a:gd name="connsiteY3" fmla="*/ 645585 h 4040862"/>
              <a:gd name="connsiteX4" fmla="*/ 6255181 w 6862665"/>
              <a:gd name="connsiteY4" fmla="*/ 3368774 h 4040862"/>
              <a:gd name="connsiteX5" fmla="*/ 5552500 w 6862665"/>
              <a:gd name="connsiteY5" fmla="*/ 4040862 h 4040862"/>
              <a:gd name="connsiteX6" fmla="*/ 672088 w 6862665"/>
              <a:gd name="connsiteY6" fmla="*/ 4040862 h 4040862"/>
              <a:gd name="connsiteX7" fmla="*/ 0 w 6862665"/>
              <a:gd name="connsiteY7" fmla="*/ 3368774 h 4040862"/>
              <a:gd name="connsiteX8" fmla="*/ 0 w 6862665"/>
              <a:gd name="connsiteY8" fmla="*/ 680502 h 4040862"/>
              <a:gd name="connsiteX0" fmla="*/ 0 w 6863254"/>
              <a:gd name="connsiteY0" fmla="*/ 688713 h 4049073"/>
              <a:gd name="connsiteX1" fmla="*/ 672088 w 6863254"/>
              <a:gd name="connsiteY1" fmla="*/ 16625 h 4049073"/>
              <a:gd name="connsiteX2" fmla="*/ 5552500 w 6863254"/>
              <a:gd name="connsiteY2" fmla="*/ 16625 h 4049073"/>
              <a:gd name="connsiteX3" fmla="*/ 6831278 w 6863254"/>
              <a:gd name="connsiteY3" fmla="*/ 653796 h 4049073"/>
              <a:gd name="connsiteX4" fmla="*/ 6255181 w 6863254"/>
              <a:gd name="connsiteY4" fmla="*/ 3376985 h 4049073"/>
              <a:gd name="connsiteX5" fmla="*/ 5552500 w 6863254"/>
              <a:gd name="connsiteY5" fmla="*/ 4049073 h 4049073"/>
              <a:gd name="connsiteX6" fmla="*/ 672088 w 6863254"/>
              <a:gd name="connsiteY6" fmla="*/ 4049073 h 4049073"/>
              <a:gd name="connsiteX7" fmla="*/ 0 w 6863254"/>
              <a:gd name="connsiteY7" fmla="*/ 3376985 h 4049073"/>
              <a:gd name="connsiteX8" fmla="*/ 0 w 6863254"/>
              <a:gd name="connsiteY8" fmla="*/ 688713 h 4049073"/>
              <a:gd name="connsiteX0" fmla="*/ 0 w 6863864"/>
              <a:gd name="connsiteY0" fmla="*/ 694884 h 4055244"/>
              <a:gd name="connsiteX1" fmla="*/ 672088 w 6863864"/>
              <a:gd name="connsiteY1" fmla="*/ 22796 h 4055244"/>
              <a:gd name="connsiteX2" fmla="*/ 5552500 w 6863864"/>
              <a:gd name="connsiteY2" fmla="*/ 22796 h 4055244"/>
              <a:gd name="connsiteX3" fmla="*/ 6831278 w 6863864"/>
              <a:gd name="connsiteY3" fmla="*/ 659967 h 4055244"/>
              <a:gd name="connsiteX4" fmla="*/ 6255181 w 6863864"/>
              <a:gd name="connsiteY4" fmla="*/ 3383156 h 4055244"/>
              <a:gd name="connsiteX5" fmla="*/ 5552500 w 6863864"/>
              <a:gd name="connsiteY5" fmla="*/ 4055244 h 4055244"/>
              <a:gd name="connsiteX6" fmla="*/ 672088 w 6863864"/>
              <a:gd name="connsiteY6" fmla="*/ 4055244 h 4055244"/>
              <a:gd name="connsiteX7" fmla="*/ 0 w 6863864"/>
              <a:gd name="connsiteY7" fmla="*/ 3383156 h 4055244"/>
              <a:gd name="connsiteX8" fmla="*/ 0 w 6863864"/>
              <a:gd name="connsiteY8" fmla="*/ 694884 h 4055244"/>
              <a:gd name="connsiteX0" fmla="*/ 0 w 6831278"/>
              <a:gd name="connsiteY0" fmla="*/ 729568 h 4089928"/>
              <a:gd name="connsiteX1" fmla="*/ 672088 w 6831278"/>
              <a:gd name="connsiteY1" fmla="*/ 57480 h 4089928"/>
              <a:gd name="connsiteX2" fmla="*/ 5552500 w 6831278"/>
              <a:gd name="connsiteY2" fmla="*/ 57480 h 4089928"/>
              <a:gd name="connsiteX3" fmla="*/ 6110066 w 6831278"/>
              <a:gd name="connsiteY3" fmla="*/ 44477 h 4089928"/>
              <a:gd name="connsiteX4" fmla="*/ 6831278 w 6831278"/>
              <a:gd name="connsiteY4" fmla="*/ 694651 h 4089928"/>
              <a:gd name="connsiteX5" fmla="*/ 6255181 w 6831278"/>
              <a:gd name="connsiteY5" fmla="*/ 3417840 h 4089928"/>
              <a:gd name="connsiteX6" fmla="*/ 5552500 w 6831278"/>
              <a:gd name="connsiteY6" fmla="*/ 4089928 h 4089928"/>
              <a:gd name="connsiteX7" fmla="*/ 672088 w 6831278"/>
              <a:gd name="connsiteY7" fmla="*/ 4089928 h 4089928"/>
              <a:gd name="connsiteX8" fmla="*/ 0 w 6831278"/>
              <a:gd name="connsiteY8" fmla="*/ 3417840 h 4089928"/>
              <a:gd name="connsiteX9" fmla="*/ 0 w 6831278"/>
              <a:gd name="connsiteY9" fmla="*/ 729568 h 4089928"/>
              <a:gd name="connsiteX0" fmla="*/ 0 w 6831278"/>
              <a:gd name="connsiteY0" fmla="*/ 685091 h 4045451"/>
              <a:gd name="connsiteX1" fmla="*/ 672088 w 6831278"/>
              <a:gd name="connsiteY1" fmla="*/ 13003 h 4045451"/>
              <a:gd name="connsiteX2" fmla="*/ 5552500 w 6831278"/>
              <a:gd name="connsiteY2" fmla="*/ 13003 h 4045451"/>
              <a:gd name="connsiteX3" fmla="*/ 6110066 w 6831278"/>
              <a:gd name="connsiteY3" fmla="*/ 0 h 4045451"/>
              <a:gd name="connsiteX4" fmla="*/ 6831278 w 6831278"/>
              <a:gd name="connsiteY4" fmla="*/ 650174 h 4045451"/>
              <a:gd name="connsiteX5" fmla="*/ 6255181 w 6831278"/>
              <a:gd name="connsiteY5" fmla="*/ 3373363 h 4045451"/>
              <a:gd name="connsiteX6" fmla="*/ 5552500 w 6831278"/>
              <a:gd name="connsiteY6" fmla="*/ 4045451 h 4045451"/>
              <a:gd name="connsiteX7" fmla="*/ 672088 w 6831278"/>
              <a:gd name="connsiteY7" fmla="*/ 4045451 h 4045451"/>
              <a:gd name="connsiteX8" fmla="*/ 0 w 6831278"/>
              <a:gd name="connsiteY8" fmla="*/ 3373363 h 4045451"/>
              <a:gd name="connsiteX9" fmla="*/ 0 w 6831278"/>
              <a:gd name="connsiteY9" fmla="*/ 685091 h 4045451"/>
              <a:gd name="connsiteX0" fmla="*/ 0 w 6831278"/>
              <a:gd name="connsiteY0" fmla="*/ 687376 h 4047736"/>
              <a:gd name="connsiteX1" fmla="*/ 672088 w 6831278"/>
              <a:gd name="connsiteY1" fmla="*/ 15288 h 4047736"/>
              <a:gd name="connsiteX2" fmla="*/ 5552500 w 6831278"/>
              <a:gd name="connsiteY2" fmla="*/ 15288 h 4047736"/>
              <a:gd name="connsiteX3" fmla="*/ 6110066 w 6831278"/>
              <a:gd name="connsiteY3" fmla="*/ 2285 h 4047736"/>
              <a:gd name="connsiteX4" fmla="*/ 6831278 w 6831278"/>
              <a:gd name="connsiteY4" fmla="*/ 652459 h 4047736"/>
              <a:gd name="connsiteX5" fmla="*/ 6255181 w 6831278"/>
              <a:gd name="connsiteY5" fmla="*/ 3375648 h 4047736"/>
              <a:gd name="connsiteX6" fmla="*/ 5552500 w 6831278"/>
              <a:gd name="connsiteY6" fmla="*/ 4047736 h 4047736"/>
              <a:gd name="connsiteX7" fmla="*/ 672088 w 6831278"/>
              <a:gd name="connsiteY7" fmla="*/ 4047736 h 4047736"/>
              <a:gd name="connsiteX8" fmla="*/ 0 w 6831278"/>
              <a:gd name="connsiteY8" fmla="*/ 3375648 h 4047736"/>
              <a:gd name="connsiteX9" fmla="*/ 0 w 6831278"/>
              <a:gd name="connsiteY9" fmla="*/ 687376 h 4047736"/>
              <a:gd name="connsiteX0" fmla="*/ 0 w 6856408"/>
              <a:gd name="connsiteY0" fmla="*/ 686464 h 4046824"/>
              <a:gd name="connsiteX1" fmla="*/ 672088 w 6856408"/>
              <a:gd name="connsiteY1" fmla="*/ 14376 h 4046824"/>
              <a:gd name="connsiteX2" fmla="*/ 5552500 w 6856408"/>
              <a:gd name="connsiteY2" fmla="*/ 14376 h 4046824"/>
              <a:gd name="connsiteX3" fmla="*/ 6110066 w 6856408"/>
              <a:gd name="connsiteY3" fmla="*/ 1373 h 4046824"/>
              <a:gd name="connsiteX4" fmla="*/ 6831278 w 6856408"/>
              <a:gd name="connsiteY4" fmla="*/ 651547 h 4046824"/>
              <a:gd name="connsiteX5" fmla="*/ 6255181 w 6856408"/>
              <a:gd name="connsiteY5" fmla="*/ 3374736 h 4046824"/>
              <a:gd name="connsiteX6" fmla="*/ 5552500 w 6856408"/>
              <a:gd name="connsiteY6" fmla="*/ 4046824 h 4046824"/>
              <a:gd name="connsiteX7" fmla="*/ 672088 w 6856408"/>
              <a:gd name="connsiteY7" fmla="*/ 4046824 h 4046824"/>
              <a:gd name="connsiteX8" fmla="*/ 0 w 6856408"/>
              <a:gd name="connsiteY8" fmla="*/ 3374736 h 4046824"/>
              <a:gd name="connsiteX9" fmla="*/ 0 w 6856408"/>
              <a:gd name="connsiteY9" fmla="*/ 686464 h 4046824"/>
              <a:gd name="connsiteX0" fmla="*/ 0 w 6856792"/>
              <a:gd name="connsiteY0" fmla="*/ 690375 h 4050735"/>
              <a:gd name="connsiteX1" fmla="*/ 672088 w 6856792"/>
              <a:gd name="connsiteY1" fmla="*/ 18287 h 4050735"/>
              <a:gd name="connsiteX2" fmla="*/ 5552500 w 6856792"/>
              <a:gd name="connsiteY2" fmla="*/ 18287 h 4050735"/>
              <a:gd name="connsiteX3" fmla="*/ 6110066 w 6856792"/>
              <a:gd name="connsiteY3" fmla="*/ 5284 h 4050735"/>
              <a:gd name="connsiteX4" fmla="*/ 6831278 w 6856792"/>
              <a:gd name="connsiteY4" fmla="*/ 655458 h 4050735"/>
              <a:gd name="connsiteX5" fmla="*/ 6255181 w 6856792"/>
              <a:gd name="connsiteY5" fmla="*/ 3378647 h 4050735"/>
              <a:gd name="connsiteX6" fmla="*/ 5552500 w 6856792"/>
              <a:gd name="connsiteY6" fmla="*/ 4050735 h 4050735"/>
              <a:gd name="connsiteX7" fmla="*/ 672088 w 6856792"/>
              <a:gd name="connsiteY7" fmla="*/ 4050735 h 4050735"/>
              <a:gd name="connsiteX8" fmla="*/ 0 w 6856792"/>
              <a:gd name="connsiteY8" fmla="*/ 3378647 h 4050735"/>
              <a:gd name="connsiteX9" fmla="*/ 0 w 6856792"/>
              <a:gd name="connsiteY9" fmla="*/ 690375 h 4050735"/>
              <a:gd name="connsiteX0" fmla="*/ 0 w 6856380"/>
              <a:gd name="connsiteY0" fmla="*/ 690375 h 4050735"/>
              <a:gd name="connsiteX1" fmla="*/ 672088 w 6856380"/>
              <a:gd name="connsiteY1" fmla="*/ 18287 h 4050735"/>
              <a:gd name="connsiteX2" fmla="*/ 5552500 w 6856380"/>
              <a:gd name="connsiteY2" fmla="*/ 18287 h 4050735"/>
              <a:gd name="connsiteX3" fmla="*/ 6105377 w 6856380"/>
              <a:gd name="connsiteY3" fmla="*/ 5284 h 4050735"/>
              <a:gd name="connsiteX4" fmla="*/ 6831278 w 6856380"/>
              <a:gd name="connsiteY4" fmla="*/ 655458 h 4050735"/>
              <a:gd name="connsiteX5" fmla="*/ 6255181 w 6856380"/>
              <a:gd name="connsiteY5" fmla="*/ 3378647 h 4050735"/>
              <a:gd name="connsiteX6" fmla="*/ 5552500 w 6856380"/>
              <a:gd name="connsiteY6" fmla="*/ 4050735 h 4050735"/>
              <a:gd name="connsiteX7" fmla="*/ 672088 w 6856380"/>
              <a:gd name="connsiteY7" fmla="*/ 4050735 h 4050735"/>
              <a:gd name="connsiteX8" fmla="*/ 0 w 6856380"/>
              <a:gd name="connsiteY8" fmla="*/ 3378647 h 4050735"/>
              <a:gd name="connsiteX9" fmla="*/ 0 w 6856380"/>
              <a:gd name="connsiteY9"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18287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672088 w 6856380"/>
              <a:gd name="connsiteY8" fmla="*/ 4050735 h 4050735"/>
              <a:gd name="connsiteX9" fmla="*/ 0 w 6856380"/>
              <a:gd name="connsiteY9" fmla="*/ 3378647 h 4050735"/>
              <a:gd name="connsiteX10" fmla="*/ 0 w 6856380"/>
              <a:gd name="connsiteY10" fmla="*/ 690375 h 4050735"/>
              <a:gd name="connsiteX0" fmla="*/ 0 w 6856380"/>
              <a:gd name="connsiteY0" fmla="*/ 690375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901663 w 6856380"/>
              <a:gd name="connsiteY8" fmla="*/ 4050735 h 4050735"/>
              <a:gd name="connsiteX9" fmla="*/ 0 w 6856380"/>
              <a:gd name="connsiteY9" fmla="*/ 3378647 h 4050735"/>
              <a:gd name="connsiteX10" fmla="*/ 0 w 6856380"/>
              <a:gd name="connsiteY10" fmla="*/ 690375 h 4050735"/>
              <a:gd name="connsiteX0" fmla="*/ 0 w 6856380"/>
              <a:gd name="connsiteY0" fmla="*/ 3378647 h 4050735"/>
              <a:gd name="connsiteX1" fmla="*/ 672088 w 6856380"/>
              <a:gd name="connsiteY1" fmla="*/ 18287 h 4050735"/>
              <a:gd name="connsiteX2" fmla="*/ 4736121 w 6856380"/>
              <a:gd name="connsiteY2" fmla="*/ 14663 h 4050735"/>
              <a:gd name="connsiteX3" fmla="*/ 5552500 w 6856380"/>
              <a:gd name="connsiteY3" fmla="*/ 8908 h 4050735"/>
              <a:gd name="connsiteX4" fmla="*/ 6105377 w 6856380"/>
              <a:gd name="connsiteY4" fmla="*/ 5284 h 4050735"/>
              <a:gd name="connsiteX5" fmla="*/ 6831278 w 6856380"/>
              <a:gd name="connsiteY5" fmla="*/ 655458 h 4050735"/>
              <a:gd name="connsiteX6" fmla="*/ 6255181 w 6856380"/>
              <a:gd name="connsiteY6" fmla="*/ 3378647 h 4050735"/>
              <a:gd name="connsiteX7" fmla="*/ 5552500 w 6856380"/>
              <a:gd name="connsiteY7" fmla="*/ 4050735 h 4050735"/>
              <a:gd name="connsiteX8" fmla="*/ 901663 w 6856380"/>
              <a:gd name="connsiteY8" fmla="*/ 4050735 h 4050735"/>
              <a:gd name="connsiteX9" fmla="*/ 0 w 6856380"/>
              <a:gd name="connsiteY9" fmla="*/ 3378647 h 4050735"/>
              <a:gd name="connsiteX0" fmla="*/ 664711 w 6619428"/>
              <a:gd name="connsiteY0" fmla="*/ 4050735 h 4050735"/>
              <a:gd name="connsiteX1" fmla="*/ 435136 w 6619428"/>
              <a:gd name="connsiteY1" fmla="*/ 18287 h 4050735"/>
              <a:gd name="connsiteX2" fmla="*/ 4499169 w 6619428"/>
              <a:gd name="connsiteY2" fmla="*/ 14663 h 4050735"/>
              <a:gd name="connsiteX3" fmla="*/ 5315548 w 6619428"/>
              <a:gd name="connsiteY3" fmla="*/ 8908 h 4050735"/>
              <a:gd name="connsiteX4" fmla="*/ 5868425 w 6619428"/>
              <a:gd name="connsiteY4" fmla="*/ 5284 h 4050735"/>
              <a:gd name="connsiteX5" fmla="*/ 6594326 w 6619428"/>
              <a:gd name="connsiteY5" fmla="*/ 655458 h 4050735"/>
              <a:gd name="connsiteX6" fmla="*/ 6018229 w 6619428"/>
              <a:gd name="connsiteY6" fmla="*/ 3378647 h 4050735"/>
              <a:gd name="connsiteX7" fmla="*/ 5315548 w 6619428"/>
              <a:gd name="connsiteY7" fmla="*/ 4050735 h 4050735"/>
              <a:gd name="connsiteX8" fmla="*/ 664711 w 6619428"/>
              <a:gd name="connsiteY8" fmla="*/ 4050735 h 4050735"/>
              <a:gd name="connsiteX0" fmla="*/ 555434 w 6510151"/>
              <a:gd name="connsiteY0" fmla="*/ 4050735 h 4050735"/>
              <a:gd name="connsiteX1" fmla="*/ 536303 w 6510151"/>
              <a:gd name="connsiteY1" fmla="*/ 18287 h 4050735"/>
              <a:gd name="connsiteX2" fmla="*/ 4389892 w 6510151"/>
              <a:gd name="connsiteY2" fmla="*/ 14663 h 4050735"/>
              <a:gd name="connsiteX3" fmla="*/ 5206271 w 6510151"/>
              <a:gd name="connsiteY3" fmla="*/ 8908 h 4050735"/>
              <a:gd name="connsiteX4" fmla="*/ 5759148 w 6510151"/>
              <a:gd name="connsiteY4" fmla="*/ 5284 h 4050735"/>
              <a:gd name="connsiteX5" fmla="*/ 6485049 w 6510151"/>
              <a:gd name="connsiteY5" fmla="*/ 655458 h 4050735"/>
              <a:gd name="connsiteX6" fmla="*/ 5908952 w 6510151"/>
              <a:gd name="connsiteY6" fmla="*/ 3378647 h 4050735"/>
              <a:gd name="connsiteX7" fmla="*/ 5206271 w 6510151"/>
              <a:gd name="connsiteY7" fmla="*/ 4050735 h 4050735"/>
              <a:gd name="connsiteX8" fmla="*/ 555434 w 6510151"/>
              <a:gd name="connsiteY8" fmla="*/ 4050735 h 4050735"/>
              <a:gd name="connsiteX0" fmla="*/ 19131 w 5973848"/>
              <a:gd name="connsiteY0" fmla="*/ 4050735 h 4050735"/>
              <a:gd name="connsiteX1" fmla="*/ 0 w 5973848"/>
              <a:gd name="connsiteY1" fmla="*/ 18287 h 4050735"/>
              <a:gd name="connsiteX2" fmla="*/ 3853589 w 5973848"/>
              <a:gd name="connsiteY2" fmla="*/ 14663 h 4050735"/>
              <a:gd name="connsiteX3" fmla="*/ 4669968 w 5973848"/>
              <a:gd name="connsiteY3" fmla="*/ 8908 h 4050735"/>
              <a:gd name="connsiteX4" fmla="*/ 5222845 w 5973848"/>
              <a:gd name="connsiteY4" fmla="*/ 5284 h 4050735"/>
              <a:gd name="connsiteX5" fmla="*/ 5948746 w 5973848"/>
              <a:gd name="connsiteY5" fmla="*/ 655458 h 4050735"/>
              <a:gd name="connsiteX6" fmla="*/ 5372649 w 5973848"/>
              <a:gd name="connsiteY6" fmla="*/ 3378647 h 4050735"/>
              <a:gd name="connsiteX7" fmla="*/ 4669968 w 5973848"/>
              <a:gd name="connsiteY7" fmla="*/ 4050735 h 4050735"/>
              <a:gd name="connsiteX8" fmla="*/ 19131 w 5973848"/>
              <a:gd name="connsiteY8" fmla="*/ 4050735 h 4050735"/>
              <a:gd name="connsiteX0" fmla="*/ 5910 w 5973848"/>
              <a:gd name="connsiteY0" fmla="*/ 4050735 h 4050735"/>
              <a:gd name="connsiteX1" fmla="*/ 0 w 5973848"/>
              <a:gd name="connsiteY1" fmla="*/ 18287 h 4050735"/>
              <a:gd name="connsiteX2" fmla="*/ 3853589 w 5973848"/>
              <a:gd name="connsiteY2" fmla="*/ 14663 h 4050735"/>
              <a:gd name="connsiteX3" fmla="*/ 4669968 w 5973848"/>
              <a:gd name="connsiteY3" fmla="*/ 8908 h 4050735"/>
              <a:gd name="connsiteX4" fmla="*/ 5222845 w 5973848"/>
              <a:gd name="connsiteY4" fmla="*/ 5284 h 4050735"/>
              <a:gd name="connsiteX5" fmla="*/ 5948746 w 5973848"/>
              <a:gd name="connsiteY5" fmla="*/ 655458 h 4050735"/>
              <a:gd name="connsiteX6" fmla="*/ 5372649 w 5973848"/>
              <a:gd name="connsiteY6" fmla="*/ 3378647 h 4050735"/>
              <a:gd name="connsiteX7" fmla="*/ 4669968 w 5973848"/>
              <a:gd name="connsiteY7" fmla="*/ 4050735 h 4050735"/>
              <a:gd name="connsiteX8" fmla="*/ 5910 w 5973848"/>
              <a:gd name="connsiteY8" fmla="*/ 4050735 h 4050735"/>
              <a:gd name="connsiteX0" fmla="*/ 5910 w 5973848"/>
              <a:gd name="connsiteY0" fmla="*/ 4050735 h 4050735"/>
              <a:gd name="connsiteX1" fmla="*/ 0 w 5973848"/>
              <a:gd name="connsiteY1" fmla="*/ 18287 h 4050735"/>
              <a:gd name="connsiteX2" fmla="*/ 3853589 w 5973848"/>
              <a:gd name="connsiteY2" fmla="*/ 14663 h 4050735"/>
              <a:gd name="connsiteX3" fmla="*/ 4669968 w 5973848"/>
              <a:gd name="connsiteY3" fmla="*/ 8908 h 4050735"/>
              <a:gd name="connsiteX4" fmla="*/ 5222845 w 5973848"/>
              <a:gd name="connsiteY4" fmla="*/ 5284 h 4050735"/>
              <a:gd name="connsiteX5" fmla="*/ 5948746 w 5973848"/>
              <a:gd name="connsiteY5" fmla="*/ 655458 h 4050735"/>
              <a:gd name="connsiteX6" fmla="*/ 5372649 w 5973848"/>
              <a:gd name="connsiteY6" fmla="*/ 3378647 h 4050735"/>
              <a:gd name="connsiteX7" fmla="*/ 4669968 w 5973848"/>
              <a:gd name="connsiteY7" fmla="*/ 4050735 h 4050735"/>
              <a:gd name="connsiteX8" fmla="*/ 5910 w 5973848"/>
              <a:gd name="connsiteY8" fmla="*/ 4050735 h 4050735"/>
              <a:gd name="connsiteX0" fmla="*/ 5910 w 5973848"/>
              <a:gd name="connsiteY0" fmla="*/ 4050735 h 4050735"/>
              <a:gd name="connsiteX1" fmla="*/ 0 w 5973848"/>
              <a:gd name="connsiteY1" fmla="*/ 18287 h 4050735"/>
              <a:gd name="connsiteX2" fmla="*/ 3853589 w 5973848"/>
              <a:gd name="connsiteY2" fmla="*/ 14663 h 4050735"/>
              <a:gd name="connsiteX3" fmla="*/ 4669968 w 5973848"/>
              <a:gd name="connsiteY3" fmla="*/ 8908 h 4050735"/>
              <a:gd name="connsiteX4" fmla="*/ 5222845 w 5973848"/>
              <a:gd name="connsiteY4" fmla="*/ 5284 h 4050735"/>
              <a:gd name="connsiteX5" fmla="*/ 5948746 w 5973848"/>
              <a:gd name="connsiteY5" fmla="*/ 655458 h 4050735"/>
              <a:gd name="connsiteX6" fmla="*/ 5372649 w 5973848"/>
              <a:gd name="connsiteY6" fmla="*/ 3378647 h 4050735"/>
              <a:gd name="connsiteX7" fmla="*/ 4669968 w 5973848"/>
              <a:gd name="connsiteY7" fmla="*/ 4050735 h 4050735"/>
              <a:gd name="connsiteX8" fmla="*/ 5910 w 5973848"/>
              <a:gd name="connsiteY8" fmla="*/ 4050735 h 4050735"/>
              <a:gd name="connsiteX0" fmla="*/ 0 w 6840531"/>
              <a:gd name="connsiteY0" fmla="*/ 4050735 h 4050735"/>
              <a:gd name="connsiteX1" fmla="*/ 866683 w 6840531"/>
              <a:gd name="connsiteY1" fmla="*/ 18287 h 4050735"/>
              <a:gd name="connsiteX2" fmla="*/ 4720272 w 6840531"/>
              <a:gd name="connsiteY2" fmla="*/ 14663 h 4050735"/>
              <a:gd name="connsiteX3" fmla="*/ 5536651 w 6840531"/>
              <a:gd name="connsiteY3" fmla="*/ 8908 h 4050735"/>
              <a:gd name="connsiteX4" fmla="*/ 6089528 w 6840531"/>
              <a:gd name="connsiteY4" fmla="*/ 5284 h 4050735"/>
              <a:gd name="connsiteX5" fmla="*/ 6815429 w 6840531"/>
              <a:gd name="connsiteY5" fmla="*/ 655458 h 4050735"/>
              <a:gd name="connsiteX6" fmla="*/ 6239332 w 6840531"/>
              <a:gd name="connsiteY6" fmla="*/ 3378647 h 4050735"/>
              <a:gd name="connsiteX7" fmla="*/ 5536651 w 6840531"/>
              <a:gd name="connsiteY7" fmla="*/ 4050735 h 4050735"/>
              <a:gd name="connsiteX8" fmla="*/ 0 w 6840531"/>
              <a:gd name="connsiteY8" fmla="*/ 4050735 h 4050735"/>
              <a:gd name="connsiteX0" fmla="*/ 0 w 6840531"/>
              <a:gd name="connsiteY0" fmla="*/ 4050735 h 4050735"/>
              <a:gd name="connsiteX1" fmla="*/ 7310 w 6840531"/>
              <a:gd name="connsiteY1" fmla="*/ 10562 h 4050735"/>
              <a:gd name="connsiteX2" fmla="*/ 4720272 w 6840531"/>
              <a:gd name="connsiteY2" fmla="*/ 14663 h 4050735"/>
              <a:gd name="connsiteX3" fmla="*/ 5536651 w 6840531"/>
              <a:gd name="connsiteY3" fmla="*/ 8908 h 4050735"/>
              <a:gd name="connsiteX4" fmla="*/ 6089528 w 6840531"/>
              <a:gd name="connsiteY4" fmla="*/ 5284 h 4050735"/>
              <a:gd name="connsiteX5" fmla="*/ 6815429 w 6840531"/>
              <a:gd name="connsiteY5" fmla="*/ 655458 h 4050735"/>
              <a:gd name="connsiteX6" fmla="*/ 6239332 w 6840531"/>
              <a:gd name="connsiteY6" fmla="*/ 3378647 h 4050735"/>
              <a:gd name="connsiteX7" fmla="*/ 5536651 w 6840531"/>
              <a:gd name="connsiteY7" fmla="*/ 4050735 h 4050735"/>
              <a:gd name="connsiteX8" fmla="*/ 0 w 6840531"/>
              <a:gd name="connsiteY8" fmla="*/ 4050735 h 4050735"/>
              <a:gd name="connsiteX0" fmla="*/ 0 w 6840531"/>
              <a:gd name="connsiteY0" fmla="*/ 4050735 h 4050735"/>
              <a:gd name="connsiteX1" fmla="*/ 7310 w 6840531"/>
              <a:gd name="connsiteY1" fmla="*/ 10562 h 4050735"/>
              <a:gd name="connsiteX2" fmla="*/ 4720272 w 6840531"/>
              <a:gd name="connsiteY2" fmla="*/ 14663 h 4050735"/>
              <a:gd name="connsiteX3" fmla="*/ 5536651 w 6840531"/>
              <a:gd name="connsiteY3" fmla="*/ 8908 h 4050735"/>
              <a:gd name="connsiteX4" fmla="*/ 6089528 w 6840531"/>
              <a:gd name="connsiteY4" fmla="*/ 5284 h 4050735"/>
              <a:gd name="connsiteX5" fmla="*/ 6815429 w 6840531"/>
              <a:gd name="connsiteY5" fmla="*/ 655458 h 4050735"/>
              <a:gd name="connsiteX6" fmla="*/ 6239332 w 6840531"/>
              <a:gd name="connsiteY6" fmla="*/ 3378647 h 4050735"/>
              <a:gd name="connsiteX7" fmla="*/ 5536651 w 6840531"/>
              <a:gd name="connsiteY7" fmla="*/ 4050735 h 4050735"/>
              <a:gd name="connsiteX8" fmla="*/ 0 w 6840531"/>
              <a:gd name="connsiteY8" fmla="*/ 4050735 h 4050735"/>
              <a:gd name="connsiteX0" fmla="*/ 0 w 8127623"/>
              <a:gd name="connsiteY0" fmla="*/ 4041057 h 4050735"/>
              <a:gd name="connsiteX1" fmla="*/ 1294402 w 8127623"/>
              <a:gd name="connsiteY1" fmla="*/ 10562 h 4050735"/>
              <a:gd name="connsiteX2" fmla="*/ 6007364 w 8127623"/>
              <a:gd name="connsiteY2" fmla="*/ 14663 h 4050735"/>
              <a:gd name="connsiteX3" fmla="*/ 6823743 w 8127623"/>
              <a:gd name="connsiteY3" fmla="*/ 8908 h 4050735"/>
              <a:gd name="connsiteX4" fmla="*/ 7376620 w 8127623"/>
              <a:gd name="connsiteY4" fmla="*/ 5284 h 4050735"/>
              <a:gd name="connsiteX5" fmla="*/ 8102521 w 8127623"/>
              <a:gd name="connsiteY5" fmla="*/ 655458 h 4050735"/>
              <a:gd name="connsiteX6" fmla="*/ 7526424 w 8127623"/>
              <a:gd name="connsiteY6" fmla="*/ 3378647 h 4050735"/>
              <a:gd name="connsiteX7" fmla="*/ 6823743 w 8127623"/>
              <a:gd name="connsiteY7" fmla="*/ 4050735 h 4050735"/>
              <a:gd name="connsiteX8" fmla="*/ 0 w 8127623"/>
              <a:gd name="connsiteY8" fmla="*/ 4041057 h 4050735"/>
              <a:gd name="connsiteX0" fmla="*/ 0 w 8055674"/>
              <a:gd name="connsiteY0" fmla="*/ 4041057 h 4050735"/>
              <a:gd name="connsiteX1" fmla="*/ 1222453 w 8055674"/>
              <a:gd name="connsiteY1" fmla="*/ 10562 h 4050735"/>
              <a:gd name="connsiteX2" fmla="*/ 5935415 w 8055674"/>
              <a:gd name="connsiteY2" fmla="*/ 14663 h 4050735"/>
              <a:gd name="connsiteX3" fmla="*/ 6751794 w 8055674"/>
              <a:gd name="connsiteY3" fmla="*/ 8908 h 4050735"/>
              <a:gd name="connsiteX4" fmla="*/ 7304671 w 8055674"/>
              <a:gd name="connsiteY4" fmla="*/ 5284 h 4050735"/>
              <a:gd name="connsiteX5" fmla="*/ 8030572 w 8055674"/>
              <a:gd name="connsiteY5" fmla="*/ 655458 h 4050735"/>
              <a:gd name="connsiteX6" fmla="*/ 7454475 w 8055674"/>
              <a:gd name="connsiteY6" fmla="*/ 3378647 h 4050735"/>
              <a:gd name="connsiteX7" fmla="*/ 6751794 w 8055674"/>
              <a:gd name="connsiteY7" fmla="*/ 4050735 h 4050735"/>
              <a:gd name="connsiteX8" fmla="*/ 0 w 8055674"/>
              <a:gd name="connsiteY8" fmla="*/ 4041057 h 4050735"/>
              <a:gd name="connsiteX0" fmla="*/ 8973 w 8064647"/>
              <a:gd name="connsiteY0" fmla="*/ 4049851 h 4059529"/>
              <a:gd name="connsiteX1" fmla="*/ 294 w 8064647"/>
              <a:gd name="connsiteY1" fmla="*/ 0 h 4059529"/>
              <a:gd name="connsiteX2" fmla="*/ 5944388 w 8064647"/>
              <a:gd name="connsiteY2" fmla="*/ 23457 h 4059529"/>
              <a:gd name="connsiteX3" fmla="*/ 6760767 w 8064647"/>
              <a:gd name="connsiteY3" fmla="*/ 17702 h 4059529"/>
              <a:gd name="connsiteX4" fmla="*/ 7313644 w 8064647"/>
              <a:gd name="connsiteY4" fmla="*/ 14078 h 4059529"/>
              <a:gd name="connsiteX5" fmla="*/ 8039545 w 8064647"/>
              <a:gd name="connsiteY5" fmla="*/ 664252 h 4059529"/>
              <a:gd name="connsiteX6" fmla="*/ 7463448 w 8064647"/>
              <a:gd name="connsiteY6" fmla="*/ 3387441 h 4059529"/>
              <a:gd name="connsiteX7" fmla="*/ 6760767 w 8064647"/>
              <a:gd name="connsiteY7" fmla="*/ 4059529 h 4059529"/>
              <a:gd name="connsiteX8" fmla="*/ 8973 w 8064647"/>
              <a:gd name="connsiteY8" fmla="*/ 4049851 h 4059529"/>
              <a:gd name="connsiteX0" fmla="*/ 8679 w 8064353"/>
              <a:gd name="connsiteY0" fmla="*/ 4049851 h 4059529"/>
              <a:gd name="connsiteX1" fmla="*/ 0 w 8064353"/>
              <a:gd name="connsiteY1" fmla="*/ 0 h 4059529"/>
              <a:gd name="connsiteX2" fmla="*/ 5944094 w 8064353"/>
              <a:gd name="connsiteY2" fmla="*/ 23457 h 4059529"/>
              <a:gd name="connsiteX3" fmla="*/ 6760473 w 8064353"/>
              <a:gd name="connsiteY3" fmla="*/ 17702 h 4059529"/>
              <a:gd name="connsiteX4" fmla="*/ 7313350 w 8064353"/>
              <a:gd name="connsiteY4" fmla="*/ 14078 h 4059529"/>
              <a:gd name="connsiteX5" fmla="*/ 8039251 w 8064353"/>
              <a:gd name="connsiteY5" fmla="*/ 664252 h 4059529"/>
              <a:gd name="connsiteX6" fmla="*/ 7463154 w 8064353"/>
              <a:gd name="connsiteY6" fmla="*/ 3387441 h 4059529"/>
              <a:gd name="connsiteX7" fmla="*/ 6760473 w 8064353"/>
              <a:gd name="connsiteY7" fmla="*/ 4059529 h 4059529"/>
              <a:gd name="connsiteX8" fmla="*/ 8679 w 8064353"/>
              <a:gd name="connsiteY8" fmla="*/ 4049851 h 4059529"/>
              <a:gd name="connsiteX0" fmla="*/ 29225820 w 37281494"/>
              <a:gd name="connsiteY0" fmla="*/ 4049851 h 4059529"/>
              <a:gd name="connsiteX1" fmla="*/ 0 w 37281494"/>
              <a:gd name="connsiteY1" fmla="*/ 0 h 4059529"/>
              <a:gd name="connsiteX2" fmla="*/ 35161235 w 37281494"/>
              <a:gd name="connsiteY2" fmla="*/ 23457 h 4059529"/>
              <a:gd name="connsiteX3" fmla="*/ 35977614 w 37281494"/>
              <a:gd name="connsiteY3" fmla="*/ 17702 h 4059529"/>
              <a:gd name="connsiteX4" fmla="*/ 36530491 w 37281494"/>
              <a:gd name="connsiteY4" fmla="*/ 14078 h 4059529"/>
              <a:gd name="connsiteX5" fmla="*/ 37256392 w 37281494"/>
              <a:gd name="connsiteY5" fmla="*/ 664252 h 4059529"/>
              <a:gd name="connsiteX6" fmla="*/ 36680295 w 37281494"/>
              <a:gd name="connsiteY6" fmla="*/ 3387441 h 4059529"/>
              <a:gd name="connsiteX7" fmla="*/ 35977614 w 37281494"/>
              <a:gd name="connsiteY7" fmla="*/ 4059529 h 4059529"/>
              <a:gd name="connsiteX8" fmla="*/ 29225820 w 37281494"/>
              <a:gd name="connsiteY8" fmla="*/ 4049851 h 4059529"/>
              <a:gd name="connsiteX0" fmla="*/ 0 w 50807593"/>
              <a:gd name="connsiteY0" fmla="*/ 4222250 h 4222250"/>
              <a:gd name="connsiteX1" fmla="*/ 13526099 w 50807593"/>
              <a:gd name="connsiteY1" fmla="*/ 0 h 4222250"/>
              <a:gd name="connsiteX2" fmla="*/ 48687334 w 50807593"/>
              <a:gd name="connsiteY2" fmla="*/ 23457 h 4222250"/>
              <a:gd name="connsiteX3" fmla="*/ 49503713 w 50807593"/>
              <a:gd name="connsiteY3" fmla="*/ 17702 h 4222250"/>
              <a:gd name="connsiteX4" fmla="*/ 50056590 w 50807593"/>
              <a:gd name="connsiteY4" fmla="*/ 14078 h 4222250"/>
              <a:gd name="connsiteX5" fmla="*/ 50782491 w 50807593"/>
              <a:gd name="connsiteY5" fmla="*/ 664252 h 4222250"/>
              <a:gd name="connsiteX6" fmla="*/ 50206394 w 50807593"/>
              <a:gd name="connsiteY6" fmla="*/ 3387441 h 4222250"/>
              <a:gd name="connsiteX7" fmla="*/ 49503713 w 50807593"/>
              <a:gd name="connsiteY7" fmla="*/ 4059529 h 4222250"/>
              <a:gd name="connsiteX8" fmla="*/ 0 w 50807593"/>
              <a:gd name="connsiteY8" fmla="*/ 4222250 h 4222250"/>
              <a:gd name="connsiteX0" fmla="*/ 58627 w 50866220"/>
              <a:gd name="connsiteY0" fmla="*/ 4279714 h 4279714"/>
              <a:gd name="connsiteX1" fmla="*/ 0 w 50866220"/>
              <a:gd name="connsiteY1" fmla="*/ 0 h 4279714"/>
              <a:gd name="connsiteX2" fmla="*/ 48745961 w 50866220"/>
              <a:gd name="connsiteY2" fmla="*/ 80921 h 4279714"/>
              <a:gd name="connsiteX3" fmla="*/ 49562340 w 50866220"/>
              <a:gd name="connsiteY3" fmla="*/ 75166 h 4279714"/>
              <a:gd name="connsiteX4" fmla="*/ 50115217 w 50866220"/>
              <a:gd name="connsiteY4" fmla="*/ 71542 h 4279714"/>
              <a:gd name="connsiteX5" fmla="*/ 50841118 w 50866220"/>
              <a:gd name="connsiteY5" fmla="*/ 721716 h 4279714"/>
              <a:gd name="connsiteX6" fmla="*/ 50265021 w 50866220"/>
              <a:gd name="connsiteY6" fmla="*/ 3444905 h 4279714"/>
              <a:gd name="connsiteX7" fmla="*/ 49562340 w 50866220"/>
              <a:gd name="connsiteY7" fmla="*/ 4116993 h 4279714"/>
              <a:gd name="connsiteX8" fmla="*/ 58627 w 50866220"/>
              <a:gd name="connsiteY8" fmla="*/ 4279714 h 4279714"/>
              <a:gd name="connsiteX0" fmla="*/ 8684 w 50866220"/>
              <a:gd name="connsiteY0" fmla="*/ 3934915 h 4116993"/>
              <a:gd name="connsiteX1" fmla="*/ 0 w 50866220"/>
              <a:gd name="connsiteY1" fmla="*/ 0 h 4116993"/>
              <a:gd name="connsiteX2" fmla="*/ 48745961 w 50866220"/>
              <a:gd name="connsiteY2" fmla="*/ 80921 h 4116993"/>
              <a:gd name="connsiteX3" fmla="*/ 49562340 w 50866220"/>
              <a:gd name="connsiteY3" fmla="*/ 75166 h 4116993"/>
              <a:gd name="connsiteX4" fmla="*/ 50115217 w 50866220"/>
              <a:gd name="connsiteY4" fmla="*/ 71542 h 4116993"/>
              <a:gd name="connsiteX5" fmla="*/ 50841118 w 50866220"/>
              <a:gd name="connsiteY5" fmla="*/ 721716 h 4116993"/>
              <a:gd name="connsiteX6" fmla="*/ 50265021 w 50866220"/>
              <a:gd name="connsiteY6" fmla="*/ 3444905 h 4116993"/>
              <a:gd name="connsiteX7" fmla="*/ 49562340 w 50866220"/>
              <a:gd name="connsiteY7" fmla="*/ 4116993 h 4116993"/>
              <a:gd name="connsiteX8" fmla="*/ 8684 w 50866220"/>
              <a:gd name="connsiteY8" fmla="*/ 3934915 h 4116993"/>
              <a:gd name="connsiteX0" fmla="*/ 8684 w 50866220"/>
              <a:gd name="connsiteY0" fmla="*/ 4049851 h 4116993"/>
              <a:gd name="connsiteX1" fmla="*/ 0 w 50866220"/>
              <a:gd name="connsiteY1" fmla="*/ 0 h 4116993"/>
              <a:gd name="connsiteX2" fmla="*/ 48745961 w 50866220"/>
              <a:gd name="connsiteY2" fmla="*/ 80921 h 4116993"/>
              <a:gd name="connsiteX3" fmla="*/ 49562340 w 50866220"/>
              <a:gd name="connsiteY3" fmla="*/ 75166 h 4116993"/>
              <a:gd name="connsiteX4" fmla="*/ 50115217 w 50866220"/>
              <a:gd name="connsiteY4" fmla="*/ 71542 h 4116993"/>
              <a:gd name="connsiteX5" fmla="*/ 50841118 w 50866220"/>
              <a:gd name="connsiteY5" fmla="*/ 721716 h 4116993"/>
              <a:gd name="connsiteX6" fmla="*/ 50265021 w 50866220"/>
              <a:gd name="connsiteY6" fmla="*/ 3444905 h 4116993"/>
              <a:gd name="connsiteX7" fmla="*/ 49562340 w 50866220"/>
              <a:gd name="connsiteY7" fmla="*/ 4116993 h 4116993"/>
              <a:gd name="connsiteX8" fmla="*/ 8684 w 50866220"/>
              <a:gd name="connsiteY8" fmla="*/ 4049851 h 4116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66220" h="4116993">
                <a:moveTo>
                  <a:pt x="8684" y="4049851"/>
                </a:moveTo>
                <a:cubicBezTo>
                  <a:pt x="5789" y="2738213"/>
                  <a:pt x="2895" y="1311638"/>
                  <a:pt x="0" y="0"/>
                </a:cubicBezTo>
                <a:lnTo>
                  <a:pt x="48745961" y="80921"/>
                </a:lnTo>
                <a:lnTo>
                  <a:pt x="49562340" y="75166"/>
                </a:lnTo>
                <a:cubicBezTo>
                  <a:pt x="50098324" y="64579"/>
                  <a:pt x="49546408" y="72750"/>
                  <a:pt x="50115217" y="71542"/>
                </a:cubicBezTo>
                <a:cubicBezTo>
                  <a:pt x="50806648" y="27681"/>
                  <a:pt x="50929473" y="257962"/>
                  <a:pt x="50841118" y="721716"/>
                </a:cubicBezTo>
                <a:lnTo>
                  <a:pt x="50265021" y="3444905"/>
                </a:lnTo>
                <a:cubicBezTo>
                  <a:pt x="50214032" y="3839883"/>
                  <a:pt x="49933524" y="4116993"/>
                  <a:pt x="49562340" y="4116993"/>
                </a:cubicBezTo>
                <a:lnTo>
                  <a:pt x="8684" y="4049851"/>
                </a:lnTo>
                <a:close/>
              </a:path>
            </a:pathLst>
          </a:custGeom>
          <a:solidFill>
            <a:srgbClr val="DCDDE0"/>
          </a:solidFill>
          <a:ln>
            <a:solidFill>
              <a:srgbClr val="DCDDE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defRPr/>
            </a:pPr>
            <a:endParaRPr lang="en-US" sz="1264" noProof="0" dirty="0"/>
          </a:p>
        </p:txBody>
      </p:sp>
      <p:sp>
        <p:nvSpPr>
          <p:cNvPr id="28" name="Freihandform: Form 27"/>
          <p:cNvSpPr/>
          <p:nvPr userDrawn="1"/>
        </p:nvSpPr>
        <p:spPr>
          <a:xfrm rot="10800000">
            <a:off x="8208355" y="4820775"/>
            <a:ext cx="935645" cy="259797"/>
          </a:xfrm>
          <a:custGeom>
            <a:avLst/>
            <a:gdLst>
              <a:gd name="connsiteX0" fmla="*/ 819010 w 935645"/>
              <a:gd name="connsiteY0" fmla="*/ 259797 h 259797"/>
              <a:gd name="connsiteX1" fmla="*/ 0 w 935645"/>
              <a:gd name="connsiteY1" fmla="*/ 259002 h 259797"/>
              <a:gd name="connsiteX2" fmla="*/ 0 w 935645"/>
              <a:gd name="connsiteY2" fmla="*/ 52 h 259797"/>
              <a:gd name="connsiteX3" fmla="*/ 745983 w 935645"/>
              <a:gd name="connsiteY3" fmla="*/ 940 h 259797"/>
              <a:gd name="connsiteX4" fmla="*/ 819010 w 935645"/>
              <a:gd name="connsiteY4" fmla="*/ 571 h 259797"/>
              <a:gd name="connsiteX5" fmla="*/ 868466 w 935645"/>
              <a:gd name="connsiteY5" fmla="*/ 339 h 259797"/>
              <a:gd name="connsiteX6" fmla="*/ 933400 w 935645"/>
              <a:gd name="connsiteY6" fmla="*/ 42038 h 259797"/>
              <a:gd name="connsiteX7" fmla="*/ 881867 w 935645"/>
              <a:gd name="connsiteY7" fmla="*/ 216692 h 259797"/>
              <a:gd name="connsiteX8" fmla="*/ 819010 w 935645"/>
              <a:gd name="connsiteY8" fmla="*/ 259797 h 25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5645" h="259797">
                <a:moveTo>
                  <a:pt x="819010" y="259797"/>
                </a:moveTo>
                <a:lnTo>
                  <a:pt x="0" y="259002"/>
                </a:lnTo>
                <a:lnTo>
                  <a:pt x="0" y="52"/>
                </a:lnTo>
                <a:lnTo>
                  <a:pt x="745983" y="940"/>
                </a:lnTo>
                <a:lnTo>
                  <a:pt x="819010" y="571"/>
                </a:lnTo>
                <a:cubicBezTo>
                  <a:pt x="866955" y="-108"/>
                  <a:pt x="817585" y="416"/>
                  <a:pt x="868466" y="339"/>
                </a:cubicBezTo>
                <a:cubicBezTo>
                  <a:pt x="930316" y="-2474"/>
                  <a:pt x="941303" y="12295"/>
                  <a:pt x="933400" y="42038"/>
                </a:cubicBezTo>
                <a:lnTo>
                  <a:pt x="881867" y="216692"/>
                </a:lnTo>
                <a:cubicBezTo>
                  <a:pt x="877306" y="242025"/>
                  <a:pt x="852213" y="259797"/>
                  <a:pt x="819010" y="259797"/>
                </a:cubicBezTo>
                <a:close/>
              </a:path>
            </a:pathLst>
          </a:cu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defRPr/>
            </a:pPr>
            <a:endParaRPr lang="en-US" sz="1264" noProof="0" dirty="0"/>
          </a:p>
        </p:txBody>
      </p:sp>
      <p:graphicFrame>
        <p:nvGraphicFramePr>
          <p:cNvPr id="10" name="Objekt 9" hidden="1"/>
          <p:cNvGraphicFramePr>
            <a:graphicFrameLocks noChangeAspect="1"/>
          </p:cNvGraphicFramePr>
          <p:nvPr userDrawn="1">
            <p:custDataLst>
              <p:tags r:id="rId23"/>
            </p:custDataLst>
            <p:extLst>
              <p:ext uri="{D42A27DB-BD31-4B8C-83A1-F6EECF244321}">
                <p14:modId xmlns:p14="http://schemas.microsoft.com/office/powerpoint/2010/main" val="1564132686"/>
              </p:ext>
            </p:extLst>
          </p:nvPr>
        </p:nvGraphicFramePr>
        <p:xfrm>
          <a:off x="1591" y="1442"/>
          <a:ext cx="1587" cy="1428"/>
        </p:xfrm>
        <a:graphic>
          <a:graphicData uri="http://schemas.openxmlformats.org/presentationml/2006/ole">
            <mc:AlternateContent xmlns:mc="http://schemas.openxmlformats.org/markup-compatibility/2006">
              <mc:Choice xmlns:v="urn:schemas-microsoft-com:vml" Requires="v">
                <p:oleObj name="think-cell Folie" r:id="rId24" imgW="360" imgH="360" progId="">
                  <p:embed/>
                </p:oleObj>
              </mc:Choice>
              <mc:Fallback>
                <p:oleObj name="think-cell Folie" r:id="rId24" imgW="360" imgH="360" progId="">
                  <p:embed/>
                  <p:pic>
                    <p:nvPicPr>
                      <p:cNvPr id="10" name="Objekt 9"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91" y="1442"/>
                        <a:ext cx="1587" cy="14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hteck 17"/>
          <p:cNvSpPr/>
          <p:nvPr userDrawn="1"/>
        </p:nvSpPr>
        <p:spPr>
          <a:xfrm>
            <a:off x="0" y="4816341"/>
            <a:ext cx="3600000" cy="268667"/>
          </a:xfrm>
          <a:prstGeom prst="rect">
            <a:avLst/>
          </a:prstGeom>
          <a:solidFill>
            <a:srgbClr val="DCDD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64" noProof="0" dirty="0"/>
          </a:p>
        </p:txBody>
      </p:sp>
      <p:sp>
        <p:nvSpPr>
          <p:cNvPr id="5" name="Footer Placeholder 4"/>
          <p:cNvSpPr>
            <a:spLocks noGrp="1"/>
          </p:cNvSpPr>
          <p:nvPr userDrawn="1">
            <p:ph type="ftr" sz="quarter" idx="3"/>
          </p:nvPr>
        </p:nvSpPr>
        <p:spPr>
          <a:xfrm>
            <a:off x="250833" y="4830260"/>
            <a:ext cx="2873367" cy="236464"/>
          </a:xfrm>
          <a:prstGeom prst="rect">
            <a:avLst/>
          </a:prstGeom>
        </p:spPr>
        <p:txBody>
          <a:bodyPr vert="horz" lIns="91440" tIns="45720" rIns="91440" bIns="45720" rtlCol="0" anchor="ctr">
            <a:noAutofit/>
          </a:bodyPr>
          <a:lstStyle>
            <a:lvl1pPr algn="l">
              <a:defRPr sz="900">
                <a:solidFill>
                  <a:schemeClr val="tx1">
                    <a:tint val="75000"/>
                  </a:schemeClr>
                </a:solidFill>
              </a:defRPr>
            </a:lvl1pPr>
          </a:lstStyle>
          <a:p>
            <a:r>
              <a:rPr lang="en-US" dirty="0"/>
              <a:t>PI UK – Ayr Scotland – March 2022</a:t>
            </a:r>
          </a:p>
        </p:txBody>
      </p:sp>
      <p:sp>
        <p:nvSpPr>
          <p:cNvPr id="14" name="Foliennummernplatzhalter 1"/>
          <p:cNvSpPr txBox="1">
            <a:spLocks/>
          </p:cNvSpPr>
          <p:nvPr userDrawn="1"/>
        </p:nvSpPr>
        <p:spPr>
          <a:xfrm>
            <a:off x="8408119" y="4818324"/>
            <a:ext cx="536121" cy="264684"/>
          </a:xfrm>
          <a:prstGeom prst="rect">
            <a:avLst/>
          </a:prstGeom>
        </p:spPr>
        <p:txBody>
          <a:bodyPr vert="horz" lIns="91440" tIns="45720" rIns="91440" bIns="45720" rtlCol="0" anchor="ctr">
            <a:noAutofit/>
          </a:bodyPr>
          <a:lstStyle>
            <a:defPPr>
              <a:defRPr lang="de-DE"/>
            </a:defPPr>
            <a:lvl1pPr marL="0" algn="r" defTabSz="713232" rtl="0" eaLnBrk="1" latinLnBrk="0" hangingPunct="1">
              <a:defRPr sz="1200" kern="1200">
                <a:solidFill>
                  <a:schemeClr val="bg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a:lstStyle>
          <a:p>
            <a:fld id="{F0B876DB-ED65-473E-9C95-7A5D374C8C64}" type="slidenum">
              <a:rPr lang="en-US" noProof="0" smtClean="0"/>
              <a:pPr/>
              <a:t>‹#›</a:t>
            </a:fld>
            <a:endParaRPr lang="en-US" noProof="0" dirty="0"/>
          </a:p>
        </p:txBody>
      </p:sp>
      <p:sp>
        <p:nvSpPr>
          <p:cNvPr id="7" name="Titelplatzhalter 6"/>
          <p:cNvSpPr>
            <a:spLocks noGrp="1"/>
          </p:cNvSpPr>
          <p:nvPr userDrawn="1">
            <p:ph type="title"/>
          </p:nvPr>
        </p:nvSpPr>
        <p:spPr>
          <a:xfrm>
            <a:off x="1828800" y="97200"/>
            <a:ext cx="6037920" cy="620614"/>
          </a:xfrm>
          <a:prstGeom prst="rect">
            <a:avLst/>
          </a:prstGeom>
        </p:spPr>
        <p:txBody>
          <a:bodyPr vert="horz" lIns="91440" tIns="45720" rIns="91440" bIns="45720" rtlCol="0" anchor="ctr">
            <a:noAutofit/>
          </a:bodyPr>
          <a:lstStyle/>
          <a:p>
            <a:endParaRPr lang="en-US" noProof="0" dirty="0"/>
          </a:p>
        </p:txBody>
      </p:sp>
      <p:sp>
        <p:nvSpPr>
          <p:cNvPr id="12" name="Textplatzhalter 11"/>
          <p:cNvSpPr>
            <a:spLocks noGrp="1"/>
          </p:cNvSpPr>
          <p:nvPr userDrawn="1">
            <p:ph type="body" idx="1"/>
          </p:nvPr>
        </p:nvSpPr>
        <p:spPr>
          <a:xfrm>
            <a:off x="252000" y="914400"/>
            <a:ext cx="8640000" cy="3816000"/>
          </a:xfrm>
          <a:prstGeom prst="rect">
            <a:avLst/>
          </a:prstGeom>
        </p:spPr>
        <p:txBody>
          <a:bodyPr vert="horz" lIns="91440" tIns="45720" rIns="91440" bIns="45720" rtlCol="0">
            <a:noAutofit/>
          </a:body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pic>
        <p:nvPicPr>
          <p:cNvPr id="2" name="Grafik 1"/>
          <p:cNvPicPr>
            <a:picLocks noChangeAspect="1"/>
          </p:cNvPicPr>
          <p:nvPr userDrawn="1"/>
        </p:nvPicPr>
        <p:blipFill rotWithShape="1">
          <a:blip r:embed="rId26" cstate="print">
            <a:extLst>
              <a:ext uri="{28A0092B-C50C-407E-A947-70E740481C1C}">
                <a14:useLocalDpi xmlns:a14="http://schemas.microsoft.com/office/drawing/2010/main" val="0"/>
              </a:ext>
            </a:extLst>
          </a:blip>
          <a:srcRect t="20323"/>
          <a:stretch/>
        </p:blipFill>
        <p:spPr>
          <a:xfrm>
            <a:off x="7866720" y="0"/>
            <a:ext cx="1277280" cy="532140"/>
          </a:xfrm>
          <a:prstGeom prst="rect">
            <a:avLst/>
          </a:prstGeom>
        </p:spPr>
      </p:pic>
      <p:sp>
        <p:nvSpPr>
          <p:cNvPr id="3" name="Datumsplatzhalter 2"/>
          <p:cNvSpPr>
            <a:spLocks noGrp="1"/>
          </p:cNvSpPr>
          <p:nvPr userDrawn="1">
            <p:ph type="dt" sz="half" idx="2"/>
          </p:nvPr>
        </p:nvSpPr>
        <p:spPr>
          <a:xfrm>
            <a:off x="5859593" y="4836676"/>
            <a:ext cx="2218984" cy="247177"/>
          </a:xfrm>
          <a:prstGeom prst="rect">
            <a:avLst/>
          </a:prstGeom>
        </p:spPr>
        <p:txBody>
          <a:bodyPr vert="horz" lIns="0" tIns="0" rIns="0" bIns="0" rtlCol="0" anchor="ctr">
            <a:noAutofit/>
          </a:bodyPr>
          <a:lstStyle>
            <a:lvl1pPr algn="l">
              <a:defRPr sz="900">
                <a:solidFill>
                  <a:schemeClr val="tx1">
                    <a:tint val="75000"/>
                  </a:schemeClr>
                </a:solidFill>
              </a:defRPr>
            </a:lvl1pPr>
          </a:lstStyle>
          <a:p>
            <a:r>
              <a:rPr lang="de-DE" dirty="0"/>
              <a:t>© 2022 PI UK and Control Specialists Ltd</a:t>
            </a:r>
            <a:endParaRPr lang="en-US" dirty="0"/>
          </a:p>
        </p:txBody>
      </p:sp>
      <p:sp>
        <p:nvSpPr>
          <p:cNvPr id="30" name="Parallelogramm 29"/>
          <p:cNvSpPr/>
          <p:nvPr userDrawn="1"/>
        </p:nvSpPr>
        <p:spPr>
          <a:xfrm>
            <a:off x="250174" y="788873"/>
            <a:ext cx="8641826" cy="72000"/>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2800" indent="-172800" algn="l">
              <a:spcBef>
                <a:spcPts val="300"/>
              </a:spcBef>
              <a:spcAft>
                <a:spcPts val="300"/>
              </a:spcAft>
              <a:buFontTx/>
              <a:buBlip>
                <a:blip r:embed="rId27"/>
              </a:buBlip>
            </a:pPr>
            <a:endParaRPr lang="en-US" sz="1800" noProof="0" dirty="0"/>
          </a:p>
        </p:txBody>
      </p:sp>
      <p:pic>
        <p:nvPicPr>
          <p:cNvPr id="6" name="Grafik 5"/>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252000" y="147600"/>
            <a:ext cx="1383907" cy="522000"/>
          </a:xfrm>
          <a:prstGeom prst="rect">
            <a:avLst/>
          </a:prstGeom>
        </p:spPr>
      </p:pic>
    </p:spTree>
    <p:extLst>
      <p:ext uri="{BB962C8B-B14F-4D97-AF65-F5344CB8AC3E}">
        <p14:creationId xmlns:p14="http://schemas.microsoft.com/office/powerpoint/2010/main" val="3630363553"/>
      </p:ext>
    </p:extLst>
  </p:cSld>
  <p:clrMap bg1="lt1" tx1="dk1" bg2="lt2" tx2="dk2" accent1="accent1" accent2="accent2" accent3="accent3" accent4="accent4" accent5="accent5" accent6="accent6" hlink="hlink" folHlink="folHlink"/>
  <p:sldLayoutIdLst>
    <p:sldLayoutId id="2147483706" r:id="rId1"/>
    <p:sldLayoutId id="2147483702" r:id="rId2"/>
    <p:sldLayoutId id="2147483721" r:id="rId3"/>
    <p:sldLayoutId id="2147483713" r:id="rId4"/>
    <p:sldLayoutId id="2147483708" r:id="rId5"/>
    <p:sldLayoutId id="2147483703" r:id="rId6"/>
    <p:sldLayoutId id="2147483724" r:id="rId7"/>
    <p:sldLayoutId id="2147483707" r:id="rId8"/>
    <p:sldLayoutId id="2147483725" r:id="rId9"/>
    <p:sldLayoutId id="2147483709" r:id="rId10"/>
    <p:sldLayoutId id="2147483722" r:id="rId11"/>
    <p:sldLayoutId id="2147483710" r:id="rId12"/>
    <p:sldLayoutId id="2147483711" r:id="rId13"/>
    <p:sldLayoutId id="2147483712" r:id="rId14"/>
    <p:sldLayoutId id="2147483714" r:id="rId15"/>
    <p:sldLayoutId id="2147483704" r:id="rId16"/>
    <p:sldLayoutId id="2147483715" r:id="rId17"/>
    <p:sldLayoutId id="2147483716" r:id="rId18"/>
    <p:sldLayoutId id="2147483718" r:id="rId19"/>
    <p:sldLayoutId id="2147483723" r:id="rId20"/>
    <p:sldLayoutId id="2147483726" r:id="rId21"/>
  </p:sldLayoutIdLst>
  <p:hf sldNum="0" hdr="0"/>
  <p:txStyles>
    <p:titleStyle>
      <a:lvl1pPr algn="l" defTabSz="685800" rtl="0" eaLnBrk="1" latinLnBrk="0" hangingPunct="1">
        <a:lnSpc>
          <a:spcPct val="90000"/>
        </a:lnSpc>
        <a:spcBef>
          <a:spcPct val="0"/>
        </a:spcBef>
        <a:buNone/>
        <a:defRPr sz="22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300"/>
        </a:spcBef>
        <a:spcAft>
          <a:spcPts val="300"/>
        </a:spcAft>
        <a:buFontTx/>
        <a:buBlip>
          <a:blip r:embed="rId29"/>
        </a:buBlip>
        <a:defRPr sz="1800" kern="1200">
          <a:solidFill>
            <a:schemeClr val="tx1"/>
          </a:solidFill>
          <a:latin typeface="+mn-lt"/>
          <a:ea typeface="+mn-ea"/>
          <a:cs typeface="+mn-cs"/>
        </a:defRPr>
      </a:lvl1pPr>
      <a:lvl2pPr marL="360000" indent="-171450" algn="l" defTabSz="685800" rtl="0" eaLnBrk="1" latinLnBrk="0" hangingPunct="1">
        <a:lnSpc>
          <a:spcPct val="100000"/>
        </a:lnSpc>
        <a:spcBef>
          <a:spcPts val="300"/>
        </a:spcBef>
        <a:spcAft>
          <a:spcPts val="300"/>
        </a:spcAft>
        <a:buFontTx/>
        <a:buBlip>
          <a:blip r:embed="rId29"/>
        </a:buBlip>
        <a:defRPr sz="1600" kern="1200">
          <a:solidFill>
            <a:schemeClr val="tx1"/>
          </a:solidFill>
          <a:latin typeface="+mn-lt"/>
          <a:ea typeface="+mn-ea"/>
          <a:cs typeface="+mn-cs"/>
        </a:defRPr>
      </a:lvl2pPr>
      <a:lvl3pPr marL="540000" indent="-171450" algn="l" defTabSz="685800" rtl="0" eaLnBrk="1" latinLnBrk="0" hangingPunct="1">
        <a:lnSpc>
          <a:spcPct val="100000"/>
        </a:lnSpc>
        <a:spcBef>
          <a:spcPts val="300"/>
        </a:spcBef>
        <a:spcAft>
          <a:spcPts val="300"/>
        </a:spcAft>
        <a:buFontTx/>
        <a:buBlip>
          <a:blip r:embed="rId29"/>
        </a:buBlip>
        <a:defRPr sz="14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Tx/>
        <a:buBlip>
          <a:blip r:embed="rId30"/>
        </a:buBlip>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Tx/>
        <a:buBlip>
          <a:blip r:embed="rId30"/>
        </a:buBlip>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79" userDrawn="1">
          <p15:clr>
            <a:srgbClr val="F26B43"/>
          </p15:clr>
        </p15:guide>
        <p15:guide id="2" pos="2880" userDrawn="1">
          <p15:clr>
            <a:srgbClr val="F26B43"/>
          </p15:clr>
        </p15:guide>
        <p15:guide id="3" orient="horz" pos="577" userDrawn="1">
          <p15:clr>
            <a:srgbClr val="F26B43"/>
          </p15:clr>
        </p15:guide>
        <p15:guide id="4" orient="horz" pos="3026" userDrawn="1">
          <p15:clr>
            <a:srgbClr val="F26B43"/>
          </p15:clr>
        </p15:guide>
        <p15:guide id="5" orient="horz" pos="2981" userDrawn="1">
          <p15:clr>
            <a:srgbClr val="F26B43"/>
          </p15:clr>
        </p15:guide>
        <p15:guide id="6" pos="2767" userDrawn="1">
          <p15:clr>
            <a:srgbClr val="F26B43"/>
          </p15:clr>
        </p15:guide>
        <p15:guide id="7" pos="2993" userDrawn="1">
          <p15:clr>
            <a:srgbClr val="F26B43"/>
          </p15:clr>
        </p15:guide>
        <p15:guide id="8" pos="158" userDrawn="1">
          <p15:clr>
            <a:srgbClr val="F26B43"/>
          </p15:clr>
        </p15:guide>
        <p15:guide id="9" pos="5602" userDrawn="1">
          <p15:clr>
            <a:srgbClr val="F26B43"/>
          </p15:clr>
        </p15:guide>
        <p15:guide id="10" orient="horz" pos="55" userDrawn="1">
          <p15:clr>
            <a:srgbClr val="F26B43"/>
          </p15:clr>
        </p15:guide>
        <p15:guide id="11" orient="horz" pos="46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1.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jpeg"/></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www.automationworld.com/" TargetMode="Externa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jpeg"/><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21.xml"/><Relationship Id="rId5" Type="http://schemas.openxmlformats.org/officeDocument/2006/relationships/image" Target="../media/image22.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4"/>
          </p:nvPr>
        </p:nvSpPr>
        <p:spPr>
          <a:xfrm>
            <a:off x="98756" y="3317013"/>
            <a:ext cx="7020832" cy="449263"/>
          </a:xfrm>
        </p:spPr>
        <p:txBody>
          <a:bodyPr/>
          <a:lstStyle/>
          <a:p>
            <a:r>
              <a:rPr lang="en-US" sz="1400" b="1" noProof="0" dirty="0">
                <a:latin typeface="Arial" panose="020B0604020202020204" pitchFamily="34" charset="0"/>
                <a:cs typeface="Arial" panose="020B0604020202020204" pitchFamily="34" charset="0"/>
              </a:rPr>
              <a:t>Peter Thomas – HMS Networks Ltd</a:t>
            </a:r>
          </a:p>
          <a:p>
            <a:r>
              <a:rPr lang="en-US" sz="1400" dirty="0">
                <a:latin typeface="Arial" panose="020B0604020202020204" pitchFamily="34" charset="0"/>
                <a:cs typeface="Arial" panose="020B0604020202020204" pitchFamily="34" charset="0"/>
              </a:rPr>
              <a:t>PI Training Manager (MU North)</a:t>
            </a:r>
            <a:endParaRPr lang="en-US" sz="1400" noProof="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Chairman PROFIBUS &amp; PROFINET International Training Centre’s</a:t>
            </a:r>
          </a:p>
        </p:txBody>
      </p:sp>
      <p:sp>
        <p:nvSpPr>
          <p:cNvPr id="9" name="Textplatzhalter 8"/>
          <p:cNvSpPr>
            <a:spLocks noGrp="1"/>
          </p:cNvSpPr>
          <p:nvPr>
            <p:ph type="body" sz="quarter" idx="22"/>
          </p:nvPr>
        </p:nvSpPr>
        <p:spPr>
          <a:xfrm>
            <a:off x="4401625" y="4516114"/>
            <a:ext cx="504000" cy="432000"/>
          </a:xfrm>
        </p:spPr>
        <p:txBody>
          <a:bodyPr/>
          <a:lstStyle/>
          <a:p>
            <a:endParaRPr lang="de-DE" dirty="0"/>
          </a:p>
        </p:txBody>
      </p:sp>
      <p:sp>
        <p:nvSpPr>
          <p:cNvPr id="8" name="Textplatzhalter 7"/>
          <p:cNvSpPr>
            <a:spLocks noGrp="1"/>
          </p:cNvSpPr>
          <p:nvPr>
            <p:ph type="body" sz="quarter" idx="21"/>
          </p:nvPr>
        </p:nvSpPr>
        <p:spPr>
          <a:xfrm>
            <a:off x="3688825" y="4516114"/>
            <a:ext cx="504000" cy="432000"/>
          </a:xfrm>
        </p:spPr>
        <p:txBody>
          <a:bodyPr/>
          <a:lstStyle/>
          <a:p>
            <a:endParaRPr lang="de-DE" dirty="0"/>
          </a:p>
        </p:txBody>
      </p:sp>
      <p:sp>
        <p:nvSpPr>
          <p:cNvPr id="6" name="Textplatzhalter 5"/>
          <p:cNvSpPr>
            <a:spLocks noGrp="1"/>
          </p:cNvSpPr>
          <p:nvPr>
            <p:ph type="body" sz="quarter" idx="17"/>
          </p:nvPr>
        </p:nvSpPr>
        <p:spPr>
          <a:xfrm>
            <a:off x="2972425" y="4516114"/>
            <a:ext cx="504000" cy="432000"/>
          </a:xfrm>
        </p:spPr>
        <p:txBody>
          <a:bodyPr/>
          <a:lstStyle/>
          <a:p>
            <a:endParaRPr lang="de-DE" dirty="0"/>
          </a:p>
        </p:txBody>
      </p:sp>
      <p:sp>
        <p:nvSpPr>
          <p:cNvPr id="5" name="Textplatzhalter 4"/>
          <p:cNvSpPr>
            <a:spLocks noGrp="1"/>
          </p:cNvSpPr>
          <p:nvPr>
            <p:ph type="body" sz="quarter" idx="16"/>
          </p:nvPr>
        </p:nvSpPr>
        <p:spPr>
          <a:xfrm>
            <a:off x="1615225" y="4426114"/>
            <a:ext cx="1249200" cy="522000"/>
          </a:xfrm>
        </p:spPr>
        <p:txBody>
          <a:bodyPr/>
          <a:lstStyle/>
          <a:p>
            <a:endParaRPr lang="de-DE" dirty="0"/>
          </a:p>
        </p:txBody>
      </p:sp>
      <p:sp>
        <p:nvSpPr>
          <p:cNvPr id="4" name="Textplatzhalter 3"/>
          <p:cNvSpPr>
            <a:spLocks noGrp="1"/>
          </p:cNvSpPr>
          <p:nvPr>
            <p:ph type="body" sz="quarter" idx="15"/>
          </p:nvPr>
        </p:nvSpPr>
        <p:spPr>
          <a:xfrm>
            <a:off x="250825" y="4426114"/>
            <a:ext cx="1260000" cy="522000"/>
          </a:xfrm>
        </p:spPr>
        <p:txBody>
          <a:bodyPr/>
          <a:lstStyle/>
          <a:p>
            <a:endParaRPr lang="de-DE" dirty="0"/>
          </a:p>
        </p:txBody>
      </p:sp>
      <p:sp>
        <p:nvSpPr>
          <p:cNvPr id="3" name="Titel 2"/>
          <p:cNvSpPr>
            <a:spLocks noGrp="1"/>
          </p:cNvSpPr>
          <p:nvPr>
            <p:ph type="title"/>
          </p:nvPr>
        </p:nvSpPr>
        <p:spPr/>
        <p:txBody>
          <a:bodyPr/>
          <a:lstStyle/>
          <a:p>
            <a:r>
              <a:rPr lang="en-GB" sz="3200" dirty="0"/>
              <a:t>APL – The Advanced Physical Layer</a:t>
            </a:r>
            <a:r>
              <a:rPr lang="en-GB" b="0" dirty="0"/>
              <a:t>	</a:t>
            </a:r>
          </a:p>
        </p:txBody>
      </p:sp>
      <p:sp>
        <p:nvSpPr>
          <p:cNvPr id="7" name="Textplatzhalter 6"/>
          <p:cNvSpPr>
            <a:spLocks noGrp="1"/>
          </p:cNvSpPr>
          <p:nvPr>
            <p:ph type="body" sz="quarter" idx="20"/>
          </p:nvPr>
        </p:nvSpPr>
        <p:spPr>
          <a:xfrm>
            <a:off x="5106711" y="4662765"/>
            <a:ext cx="1478629" cy="285349"/>
          </a:xfrm>
        </p:spPr>
        <p:txBody>
          <a:bodyPr/>
          <a:lstStyle/>
          <a:p>
            <a:endParaRPr lang="de-DE" dirty="0"/>
          </a:p>
        </p:txBody>
      </p:sp>
      <p:sp>
        <p:nvSpPr>
          <p:cNvPr id="10" name="Textplatzhalter 9"/>
          <p:cNvSpPr>
            <a:spLocks noGrp="1"/>
          </p:cNvSpPr>
          <p:nvPr>
            <p:ph type="body" sz="quarter" idx="25"/>
          </p:nvPr>
        </p:nvSpPr>
        <p:spPr>
          <a:xfrm>
            <a:off x="6757340" y="4617445"/>
            <a:ext cx="635901" cy="330669"/>
          </a:xfrm>
        </p:spPr>
        <p:txBody>
          <a:bodyPr/>
          <a:lstStyle/>
          <a:p>
            <a:endParaRPr lang="de-DE" dirty="0"/>
          </a:p>
        </p:txBody>
      </p:sp>
    </p:spTree>
    <p:extLst>
      <p:ext uri="{BB962C8B-B14F-4D97-AF65-F5344CB8AC3E}">
        <p14:creationId xmlns:p14="http://schemas.microsoft.com/office/powerpoint/2010/main" val="16208944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272482F2-D63F-BD9B-9C3A-A9876A6E98F0}"/>
              </a:ext>
            </a:extLst>
          </p:cNvPr>
          <p:cNvGraphicFramePr>
            <a:graphicFrameLocks noGrp="1"/>
          </p:cNvGraphicFramePr>
          <p:nvPr>
            <p:ph idx="1"/>
          </p:nvPr>
        </p:nvGraphicFramePr>
        <p:xfrm>
          <a:off x="788670" y="903105"/>
          <a:ext cx="7886700" cy="3667760"/>
        </p:xfrm>
        <a:graphic>
          <a:graphicData uri="http://schemas.openxmlformats.org/drawingml/2006/table">
            <a:tbl>
              <a:tblPr firstRow="1" bandRow="1">
                <a:tableStyleId>{5C22544A-7EE6-4342-B048-85BDC9FD1C3A}</a:tableStyleId>
              </a:tblPr>
              <a:tblGrid>
                <a:gridCol w="1512570">
                  <a:extLst>
                    <a:ext uri="{9D8B030D-6E8A-4147-A177-3AD203B41FA5}">
                      <a16:colId xmlns:a16="http://schemas.microsoft.com/office/drawing/2014/main" val="1781838077"/>
                    </a:ext>
                  </a:extLst>
                </a:gridCol>
                <a:gridCol w="1935480">
                  <a:extLst>
                    <a:ext uri="{9D8B030D-6E8A-4147-A177-3AD203B41FA5}">
                      <a16:colId xmlns:a16="http://schemas.microsoft.com/office/drawing/2014/main" val="2498446972"/>
                    </a:ext>
                  </a:extLst>
                </a:gridCol>
                <a:gridCol w="2466975">
                  <a:extLst>
                    <a:ext uri="{9D8B030D-6E8A-4147-A177-3AD203B41FA5}">
                      <a16:colId xmlns:a16="http://schemas.microsoft.com/office/drawing/2014/main" val="2030816416"/>
                    </a:ext>
                  </a:extLst>
                </a:gridCol>
                <a:gridCol w="1971675">
                  <a:extLst>
                    <a:ext uri="{9D8B030D-6E8A-4147-A177-3AD203B41FA5}">
                      <a16:colId xmlns:a16="http://schemas.microsoft.com/office/drawing/2014/main" val="578526987"/>
                    </a:ext>
                  </a:extLst>
                </a:gridCol>
              </a:tblGrid>
              <a:tr h="370840">
                <a:tc>
                  <a:txBody>
                    <a:bodyPr/>
                    <a:lstStyle/>
                    <a:p>
                      <a:endParaRPr lang="en-GB" dirty="0"/>
                    </a:p>
                  </a:txBody>
                  <a:tcPr/>
                </a:tc>
                <a:tc>
                  <a:txBody>
                    <a:bodyPr/>
                    <a:lstStyle/>
                    <a:p>
                      <a:pPr algn="ctr"/>
                      <a:r>
                        <a:rPr lang="en-US" dirty="0"/>
                        <a:t>Industrial Ethernet</a:t>
                      </a:r>
                      <a:endParaRPr lang="en-GB" dirty="0"/>
                    </a:p>
                  </a:txBody>
                  <a:tcPr/>
                </a:tc>
                <a:tc>
                  <a:txBody>
                    <a:bodyPr/>
                    <a:lstStyle/>
                    <a:p>
                      <a:pPr algn="ctr"/>
                      <a:r>
                        <a:rPr lang="en-US" dirty="0"/>
                        <a:t>Ethernet APL</a:t>
                      </a:r>
                      <a:endParaRPr lang="en-GB" dirty="0"/>
                    </a:p>
                  </a:txBody>
                  <a:tcPr/>
                </a:tc>
                <a:tc>
                  <a:txBody>
                    <a:bodyPr/>
                    <a:lstStyle/>
                    <a:p>
                      <a:pPr algn="ctr"/>
                      <a:r>
                        <a:rPr lang="en-US" dirty="0"/>
                        <a:t>Single Pair Ethernet</a:t>
                      </a:r>
                      <a:endParaRPr lang="en-GB" dirty="0"/>
                    </a:p>
                  </a:txBody>
                  <a:tcPr/>
                </a:tc>
                <a:extLst>
                  <a:ext uri="{0D108BD9-81ED-4DB2-BD59-A6C34878D82A}">
                    <a16:rowId xmlns:a16="http://schemas.microsoft.com/office/drawing/2014/main" val="1588923848"/>
                  </a:ext>
                </a:extLst>
              </a:tr>
              <a:tr h="370840">
                <a:tc>
                  <a:txBody>
                    <a:bodyPr/>
                    <a:lstStyle/>
                    <a:p>
                      <a:r>
                        <a:rPr lang="en-US" b="1" dirty="0"/>
                        <a:t>Specifications</a:t>
                      </a:r>
                      <a:endParaRPr lang="en-GB" b="1" dirty="0"/>
                    </a:p>
                  </a:txBody>
                  <a:tcPr/>
                </a:tc>
                <a:tc>
                  <a:txBody>
                    <a:bodyPr/>
                    <a:lstStyle/>
                    <a:p>
                      <a:pPr algn="ctr"/>
                      <a:r>
                        <a:rPr lang="en-GB" sz="1350" b="0" i="0" u="none" strike="noStrike" kern="1200" baseline="0" dirty="0">
                          <a:solidFill>
                            <a:schemeClr val="dk1"/>
                          </a:solidFill>
                          <a:latin typeface="+mn-lt"/>
                          <a:ea typeface="+mn-ea"/>
                          <a:cs typeface="+mn-cs"/>
                        </a:rPr>
                        <a:t>IEEE 802.3u / </a:t>
                      </a:r>
                    </a:p>
                    <a:p>
                      <a:pPr algn="ctr"/>
                      <a:r>
                        <a:rPr lang="en-GB" sz="1350" b="0" i="0" u="none" strike="noStrike" kern="1200" baseline="0" dirty="0">
                          <a:solidFill>
                            <a:schemeClr val="dk1"/>
                          </a:solidFill>
                          <a:latin typeface="+mn-lt"/>
                          <a:ea typeface="+mn-ea"/>
                          <a:cs typeface="+mn-cs"/>
                        </a:rPr>
                        <a:t>100BASE-TX</a:t>
                      </a:r>
                    </a:p>
                  </a:txBody>
                  <a:tcPr/>
                </a:tc>
                <a:tc gridSpan="2">
                  <a:txBody>
                    <a:bodyPr/>
                    <a:lstStyle/>
                    <a:p>
                      <a:pPr algn="ctr"/>
                      <a:r>
                        <a:rPr lang="en-GB" sz="1350" b="0" i="0" u="none" strike="noStrike" kern="1200" baseline="0" dirty="0">
                          <a:solidFill>
                            <a:schemeClr val="tx1"/>
                          </a:solidFill>
                          <a:latin typeface="+mn-lt"/>
                          <a:ea typeface="+mn-ea"/>
                          <a:cs typeface="+mn-cs"/>
                        </a:rPr>
                        <a:t>IEEE 802.3cg-2019  - 10BASE-T1L	</a:t>
                      </a:r>
                    </a:p>
                    <a:p>
                      <a:pPr algn="ctr"/>
                      <a:endParaRPr lang="en-GB" b="0" dirty="0">
                        <a:solidFill>
                          <a:schemeClr val="tx1"/>
                        </a:solidFill>
                      </a:endParaRPr>
                    </a:p>
                  </a:txBody>
                  <a:tcPr/>
                </a:tc>
                <a:tc hMerge="1">
                  <a:txBody>
                    <a:bodyPr/>
                    <a:lstStyle/>
                    <a:p>
                      <a:pPr algn="ctr"/>
                      <a:endParaRPr lang="en-GB" dirty="0"/>
                    </a:p>
                  </a:txBody>
                  <a:tcPr/>
                </a:tc>
                <a:extLst>
                  <a:ext uri="{0D108BD9-81ED-4DB2-BD59-A6C34878D82A}">
                    <a16:rowId xmlns:a16="http://schemas.microsoft.com/office/drawing/2014/main" val="1694773337"/>
                  </a:ext>
                </a:extLst>
              </a:tr>
              <a:tr h="370840">
                <a:tc>
                  <a:txBody>
                    <a:bodyPr/>
                    <a:lstStyle/>
                    <a:p>
                      <a:r>
                        <a:rPr lang="en-US" b="1" dirty="0"/>
                        <a:t>Hazardous Areas ?</a:t>
                      </a:r>
                      <a:endParaRPr lang="en-GB" b="1" dirty="0"/>
                    </a:p>
                  </a:txBody>
                  <a:tcPr/>
                </a:tc>
                <a:tc>
                  <a:txBody>
                    <a:bodyPr/>
                    <a:lstStyle/>
                    <a:p>
                      <a:pPr algn="ctr"/>
                      <a:r>
                        <a:rPr lang="en-US" dirty="0"/>
                        <a:t>NO</a:t>
                      </a:r>
                      <a:endParaRPr lang="en-GB" dirty="0"/>
                    </a:p>
                  </a:txBody>
                  <a:tcPr/>
                </a:tc>
                <a:tc>
                  <a:txBody>
                    <a:bodyPr/>
                    <a:lstStyle/>
                    <a:p>
                      <a:pPr algn="ctr"/>
                      <a:r>
                        <a:rPr lang="en-US" sz="1350" b="0" i="0" u="none" strike="noStrike" kern="1200" baseline="0" dirty="0">
                          <a:solidFill>
                            <a:schemeClr val="tx1"/>
                          </a:solidFill>
                          <a:latin typeface="+mn-lt"/>
                          <a:ea typeface="+mn-ea"/>
                          <a:cs typeface="+mn-cs"/>
                        </a:rPr>
                        <a:t>Explosion hazardous areas including intrinsic safety </a:t>
                      </a:r>
                    </a:p>
                    <a:p>
                      <a:pPr algn="ctr"/>
                      <a:r>
                        <a:rPr lang="en-GB" sz="1350" b="0" i="0" u="none" strike="noStrike" kern="1200" baseline="0" dirty="0">
                          <a:solidFill>
                            <a:schemeClr val="tx1"/>
                          </a:solidFill>
                          <a:latin typeface="+mn-lt"/>
                          <a:ea typeface="+mn-ea"/>
                          <a:cs typeface="+mn-cs"/>
                        </a:rPr>
                        <a:t>(via 2-WISE in IEC 60079-47)	</a:t>
                      </a:r>
                    </a:p>
                  </a:txBody>
                  <a:tcPr/>
                </a:tc>
                <a:tc>
                  <a:txBody>
                    <a:bodyPr/>
                    <a:lstStyle/>
                    <a:p>
                      <a:pPr algn="ctr"/>
                      <a:r>
                        <a:rPr lang="en-US" dirty="0"/>
                        <a:t>NO</a:t>
                      </a:r>
                      <a:endParaRPr lang="en-GB" dirty="0"/>
                    </a:p>
                  </a:txBody>
                  <a:tcPr/>
                </a:tc>
                <a:extLst>
                  <a:ext uri="{0D108BD9-81ED-4DB2-BD59-A6C34878D82A}">
                    <a16:rowId xmlns:a16="http://schemas.microsoft.com/office/drawing/2014/main" val="666903963"/>
                  </a:ext>
                </a:extLst>
              </a:tr>
              <a:tr h="370840">
                <a:tc>
                  <a:txBody>
                    <a:bodyPr/>
                    <a:lstStyle/>
                    <a:p>
                      <a:r>
                        <a:rPr lang="en-US" b="1" dirty="0"/>
                        <a:t>Power Concept</a:t>
                      </a:r>
                      <a:endParaRPr lang="en-GB" b="1" dirty="0"/>
                    </a:p>
                  </a:txBody>
                  <a:tcPr/>
                </a:tc>
                <a:tc>
                  <a:txBody>
                    <a:bodyPr/>
                    <a:lstStyle/>
                    <a:p>
                      <a:pPr algn="ctr"/>
                      <a:r>
                        <a:rPr lang="en-US" dirty="0"/>
                        <a:t>Separately Powered</a:t>
                      </a:r>
                      <a:endParaRPr lang="en-GB" dirty="0"/>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50" b="0" i="0" u="none" strike="noStrike" kern="1200" baseline="0" dirty="0">
                          <a:solidFill>
                            <a:schemeClr val="dk1"/>
                          </a:solidFill>
                          <a:latin typeface="+mn-lt"/>
                          <a:ea typeface="+mn-ea"/>
                          <a:cs typeface="+mn-cs"/>
                        </a:rPr>
                        <a:t>APL Port Profiles (loop-powered or separately powered) up to </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350" b="0" i="0" u="none" strike="noStrike" kern="1200" baseline="0" dirty="0">
                          <a:solidFill>
                            <a:schemeClr val="dk1"/>
                          </a:solidFill>
                          <a:latin typeface="+mn-lt"/>
                          <a:ea typeface="+mn-ea"/>
                          <a:cs typeface="+mn-cs"/>
                        </a:rPr>
                        <a:t>15 VDC and 0.5W	</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50" b="0" i="0" u="none" strike="noStrike" kern="1200" baseline="0" dirty="0">
                          <a:solidFill>
                            <a:schemeClr val="dk1"/>
                          </a:solidFill>
                          <a:latin typeface="+mn-lt"/>
                          <a:ea typeface="+mn-ea"/>
                          <a:cs typeface="+mn-cs"/>
                        </a:rPr>
                        <a:t>Power over Data Line (PoDL) acc. IEEE 802.3bu -up to 30 </a:t>
                      </a:r>
                      <a:r>
                        <a:rPr lang="en-GB" sz="1350" b="0" i="0" u="none" strike="noStrike" kern="1200" baseline="0" dirty="0">
                          <a:solidFill>
                            <a:schemeClr val="dk1"/>
                          </a:solidFill>
                          <a:latin typeface="+mn-lt"/>
                          <a:ea typeface="+mn-ea"/>
                          <a:cs typeface="+mn-cs"/>
                        </a:rPr>
                        <a:t>VDC and 8W</a:t>
                      </a:r>
                    </a:p>
                  </a:txBody>
                  <a:tcPr/>
                </a:tc>
                <a:extLst>
                  <a:ext uri="{0D108BD9-81ED-4DB2-BD59-A6C34878D82A}">
                    <a16:rowId xmlns:a16="http://schemas.microsoft.com/office/drawing/2014/main" val="2062856390"/>
                  </a:ext>
                </a:extLst>
              </a:tr>
              <a:tr h="370840">
                <a:tc>
                  <a:txBody>
                    <a:bodyPr/>
                    <a:lstStyle/>
                    <a:p>
                      <a:r>
                        <a:rPr lang="en-US" b="1" dirty="0"/>
                        <a:t>Connectors</a:t>
                      </a:r>
                      <a:endParaRPr lang="en-GB" b="1" dirty="0"/>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350" b="0" i="0" u="none" strike="noStrike" kern="1200" baseline="0" dirty="0">
                          <a:solidFill>
                            <a:schemeClr val="dk1"/>
                          </a:solidFill>
                          <a:latin typeface="+mn-lt"/>
                          <a:ea typeface="+mn-ea"/>
                          <a:cs typeface="+mn-cs"/>
                        </a:rPr>
                        <a:t>RJ45 or M12 D-coded</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350" b="0" i="0" u="none" strike="noStrike" kern="1200" baseline="0" dirty="0">
                          <a:solidFill>
                            <a:schemeClr val="dk1"/>
                          </a:solidFill>
                          <a:latin typeface="+mn-lt"/>
                          <a:ea typeface="+mn-ea"/>
                          <a:cs typeface="+mn-cs"/>
                        </a:rPr>
                        <a:t>Terminals or M12 A-coded</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50" b="0" i="0" u="none" strike="noStrike" kern="1200" baseline="0" dirty="0">
                          <a:solidFill>
                            <a:schemeClr val="dk1"/>
                          </a:solidFill>
                          <a:latin typeface="+mn-lt"/>
                          <a:ea typeface="+mn-ea"/>
                          <a:cs typeface="+mn-cs"/>
                        </a:rPr>
                        <a:t>SPE connectors or M12 A-coded</a:t>
                      </a:r>
                    </a:p>
                  </a:txBody>
                  <a:tcPr/>
                </a:tc>
                <a:extLst>
                  <a:ext uri="{0D108BD9-81ED-4DB2-BD59-A6C34878D82A}">
                    <a16:rowId xmlns:a16="http://schemas.microsoft.com/office/drawing/2014/main" val="1290207750"/>
                  </a:ext>
                </a:extLst>
              </a:tr>
              <a:tr h="370840">
                <a:tc>
                  <a:txBody>
                    <a:bodyPr/>
                    <a:lstStyle/>
                    <a:p>
                      <a:r>
                        <a:rPr lang="en-US" b="1" dirty="0"/>
                        <a:t>Switches</a:t>
                      </a:r>
                      <a:endParaRPr lang="en-GB" b="1" dirty="0"/>
                    </a:p>
                  </a:txBody>
                  <a:tcPr/>
                </a:tc>
                <a:tc>
                  <a:txBody>
                    <a:bodyPr/>
                    <a:lstStyle/>
                    <a:p>
                      <a:pPr algn="ctr"/>
                      <a:r>
                        <a:rPr lang="en-US" dirty="0"/>
                        <a:t>Standard Switches</a:t>
                      </a:r>
                      <a:endParaRPr lang="en-GB" dirty="0"/>
                    </a:p>
                  </a:txBody>
                  <a:tcPr/>
                </a:tc>
                <a:tc>
                  <a:txBody>
                    <a:bodyPr/>
                    <a:lstStyle/>
                    <a:p>
                      <a:pPr algn="ctr"/>
                      <a:r>
                        <a:rPr lang="en-US" dirty="0"/>
                        <a:t>APL Field Switches</a:t>
                      </a:r>
                      <a:endParaRPr lang="en-GB" dirty="0"/>
                    </a:p>
                  </a:txBody>
                  <a:tcPr/>
                </a:tc>
                <a:tc>
                  <a:txBody>
                    <a:bodyPr/>
                    <a:lstStyle/>
                    <a:p>
                      <a:pPr algn="ctr"/>
                      <a:r>
                        <a:rPr lang="en-US" dirty="0"/>
                        <a:t>SPE Switches</a:t>
                      </a:r>
                      <a:endParaRPr lang="en-GB" dirty="0"/>
                    </a:p>
                  </a:txBody>
                  <a:tcPr/>
                </a:tc>
                <a:extLst>
                  <a:ext uri="{0D108BD9-81ED-4DB2-BD59-A6C34878D82A}">
                    <a16:rowId xmlns:a16="http://schemas.microsoft.com/office/drawing/2014/main" val="1714833609"/>
                  </a:ext>
                </a:extLst>
              </a:tr>
              <a:tr h="370840">
                <a:tc>
                  <a:txBody>
                    <a:bodyPr/>
                    <a:lstStyle/>
                    <a:p>
                      <a:r>
                        <a:rPr lang="en-US" b="1" dirty="0"/>
                        <a:t>Protocols</a:t>
                      </a:r>
                      <a:endParaRPr lang="en-GB" b="1" dirty="0"/>
                    </a:p>
                  </a:txBody>
                  <a:tcPr/>
                </a:tc>
                <a:tc gridSpan="3">
                  <a:txBody>
                    <a:bodyPr/>
                    <a:lstStyle/>
                    <a:p>
                      <a:pPr algn="ctr"/>
                      <a:r>
                        <a:rPr lang="en-US" sz="1350" b="0" i="0" u="none" strike="noStrike" kern="1200" baseline="0" dirty="0">
                          <a:solidFill>
                            <a:schemeClr val="dk1"/>
                          </a:solidFill>
                          <a:latin typeface="+mn-lt"/>
                          <a:ea typeface="+mn-ea"/>
                          <a:cs typeface="+mn-cs"/>
                        </a:rPr>
                        <a:t>Industrial Ethernet real-time protocols, e.g. PROFINET, EtherNet/IP, Modbus TCP</a:t>
                      </a:r>
                    </a:p>
                    <a:p>
                      <a:pPr algn="ctr"/>
                      <a:r>
                        <a:rPr lang="en-GB" sz="1350" b="0" i="0" u="none" strike="noStrike" kern="1200" baseline="0" dirty="0">
                          <a:solidFill>
                            <a:schemeClr val="dk1"/>
                          </a:solidFill>
                          <a:latin typeface="+mn-lt"/>
                          <a:ea typeface="+mn-ea"/>
                          <a:cs typeface="+mn-cs"/>
                        </a:rPr>
                        <a:t>Standard Ethernet applications, e.g. http </a:t>
                      </a:r>
                    </a:p>
                  </a:txBody>
                  <a:tcPr/>
                </a:tc>
                <a:tc hMerge="1">
                  <a:txBody>
                    <a:bodyPr/>
                    <a:lstStyle/>
                    <a:p>
                      <a:pPr algn="ctr"/>
                      <a:endParaRPr lang="en-GB" dirty="0"/>
                    </a:p>
                  </a:txBody>
                  <a:tcPr/>
                </a:tc>
                <a:tc hMerge="1">
                  <a:txBody>
                    <a:bodyPr/>
                    <a:lstStyle/>
                    <a:p>
                      <a:pPr algn="ctr"/>
                      <a:endParaRPr lang="en-GB" dirty="0"/>
                    </a:p>
                  </a:txBody>
                  <a:tcPr/>
                </a:tc>
                <a:extLst>
                  <a:ext uri="{0D108BD9-81ED-4DB2-BD59-A6C34878D82A}">
                    <a16:rowId xmlns:a16="http://schemas.microsoft.com/office/drawing/2014/main" val="804431748"/>
                  </a:ext>
                </a:extLst>
              </a:tr>
            </a:tbl>
          </a:graphicData>
        </a:graphic>
      </p:graphicFrame>
      <p:sp>
        <p:nvSpPr>
          <p:cNvPr id="3" name="Title 2">
            <a:extLst>
              <a:ext uri="{FF2B5EF4-FFF2-40B4-BE49-F238E27FC236}">
                <a16:creationId xmlns:a16="http://schemas.microsoft.com/office/drawing/2014/main" id="{9DB4CA9C-6E36-5E88-3D35-233A4380C70E}"/>
              </a:ext>
            </a:extLst>
          </p:cNvPr>
          <p:cNvSpPr>
            <a:spLocks noGrp="1"/>
          </p:cNvSpPr>
          <p:nvPr>
            <p:ph type="title"/>
          </p:nvPr>
        </p:nvSpPr>
        <p:spPr>
          <a:xfrm>
            <a:off x="1772935" y="158981"/>
            <a:ext cx="7886700" cy="413654"/>
          </a:xfrm>
        </p:spPr>
        <p:txBody>
          <a:bodyPr/>
          <a:lstStyle/>
          <a:p>
            <a:r>
              <a:rPr lang="en-US" sz="2400" dirty="0"/>
              <a:t>Comparisons with other Ethernet types</a:t>
            </a:r>
            <a:endParaRPr lang="en-GB" sz="2400" dirty="0"/>
          </a:p>
        </p:txBody>
      </p:sp>
      <p:sp>
        <p:nvSpPr>
          <p:cNvPr id="2" name="TextBox 1">
            <a:extLst>
              <a:ext uri="{FF2B5EF4-FFF2-40B4-BE49-F238E27FC236}">
                <a16:creationId xmlns:a16="http://schemas.microsoft.com/office/drawing/2014/main" id="{53D63E02-6B88-2258-04EC-B2A3F1ED4A07}"/>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38508989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D6B841-8561-F020-F1B9-F1CE8EBC995F}"/>
              </a:ext>
            </a:extLst>
          </p:cNvPr>
          <p:cNvSpPr>
            <a:spLocks noGrp="1"/>
          </p:cNvSpPr>
          <p:nvPr>
            <p:ph type="title"/>
          </p:nvPr>
        </p:nvSpPr>
        <p:spPr>
          <a:xfrm>
            <a:off x="1862990" y="161049"/>
            <a:ext cx="7886700" cy="413654"/>
          </a:xfrm>
        </p:spPr>
        <p:txBody>
          <a:bodyPr/>
          <a:lstStyle/>
          <a:p>
            <a:r>
              <a:rPr lang="en-US" sz="2400" dirty="0"/>
              <a:t>APL – 2-Wire / Full Duplex</a:t>
            </a:r>
            <a:endParaRPr lang="en-GB" sz="2400" dirty="0"/>
          </a:p>
        </p:txBody>
      </p:sp>
      <p:pic>
        <p:nvPicPr>
          <p:cNvPr id="7" name="Picture 6">
            <a:extLst>
              <a:ext uri="{FF2B5EF4-FFF2-40B4-BE49-F238E27FC236}">
                <a16:creationId xmlns:a16="http://schemas.microsoft.com/office/drawing/2014/main" id="{40538C5C-B7BA-BC34-DF86-A022E97B41E5}"/>
              </a:ext>
            </a:extLst>
          </p:cNvPr>
          <p:cNvPicPr>
            <a:picLocks noChangeAspect="1"/>
          </p:cNvPicPr>
          <p:nvPr/>
        </p:nvPicPr>
        <p:blipFill>
          <a:blip r:embed="rId2"/>
          <a:stretch>
            <a:fillRect/>
          </a:stretch>
        </p:blipFill>
        <p:spPr>
          <a:xfrm>
            <a:off x="1401097" y="1229585"/>
            <a:ext cx="6602968" cy="3014801"/>
          </a:xfrm>
          <a:prstGeom prst="rect">
            <a:avLst/>
          </a:prstGeom>
        </p:spPr>
      </p:pic>
      <p:sp>
        <p:nvSpPr>
          <p:cNvPr id="8" name="TextBox 7">
            <a:extLst>
              <a:ext uri="{FF2B5EF4-FFF2-40B4-BE49-F238E27FC236}">
                <a16:creationId xmlns:a16="http://schemas.microsoft.com/office/drawing/2014/main" id="{94294CD1-9E45-2905-8E4D-A6ADA9AC7B36}"/>
              </a:ext>
            </a:extLst>
          </p:cNvPr>
          <p:cNvSpPr txBox="1"/>
          <p:nvPr/>
        </p:nvSpPr>
        <p:spPr>
          <a:xfrm>
            <a:off x="7193330" y="4529403"/>
            <a:ext cx="1513556" cy="246221"/>
          </a:xfrm>
          <a:prstGeom prst="rect">
            <a:avLst/>
          </a:prstGeom>
          <a:noFill/>
        </p:spPr>
        <p:txBody>
          <a:bodyPr wrap="none" rtlCol="0">
            <a:spAutoFit/>
          </a:bodyPr>
          <a:lstStyle/>
          <a:p>
            <a:r>
              <a:rPr lang="en-US" sz="1000" dirty="0"/>
              <a:t>Images – Endress+Hauser</a:t>
            </a:r>
            <a:endParaRPr lang="en-GB" sz="1000" dirty="0"/>
          </a:p>
        </p:txBody>
      </p:sp>
      <p:sp>
        <p:nvSpPr>
          <p:cNvPr id="2" name="TextBox 1">
            <a:extLst>
              <a:ext uri="{FF2B5EF4-FFF2-40B4-BE49-F238E27FC236}">
                <a16:creationId xmlns:a16="http://schemas.microsoft.com/office/drawing/2014/main" id="{00D9D80F-C527-9B43-AF53-EBA3D8DB9150}"/>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26821067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ABA99C7-0AE4-B05A-DDB5-E66D916EDE21}"/>
              </a:ext>
            </a:extLst>
          </p:cNvPr>
          <p:cNvSpPr>
            <a:spLocks noGrp="1"/>
          </p:cNvSpPr>
          <p:nvPr>
            <p:ph idx="1"/>
          </p:nvPr>
        </p:nvSpPr>
        <p:spPr>
          <a:xfrm>
            <a:off x="415796" y="943549"/>
            <a:ext cx="8423404" cy="1457801"/>
          </a:xfrm>
        </p:spPr>
        <p:txBody>
          <a:bodyPr/>
          <a:lstStyle/>
          <a:p>
            <a:r>
              <a:rPr lang="en-US" sz="2000" dirty="0"/>
              <a:t>APL devices are starting to appear from several global organisations.</a:t>
            </a:r>
          </a:p>
          <a:p>
            <a:r>
              <a:rPr lang="en-US" sz="2000" dirty="0"/>
              <a:t>A new PROFINET PA module has been added to the existing Certified PROFINET Engineer course</a:t>
            </a:r>
            <a:endParaRPr lang="en-GB" sz="2000" dirty="0"/>
          </a:p>
        </p:txBody>
      </p:sp>
      <p:sp>
        <p:nvSpPr>
          <p:cNvPr id="3" name="Title 2">
            <a:extLst>
              <a:ext uri="{FF2B5EF4-FFF2-40B4-BE49-F238E27FC236}">
                <a16:creationId xmlns:a16="http://schemas.microsoft.com/office/drawing/2014/main" id="{90C44ACE-DAEC-08A5-5952-E787779CB40D}"/>
              </a:ext>
            </a:extLst>
          </p:cNvPr>
          <p:cNvSpPr>
            <a:spLocks noGrp="1"/>
          </p:cNvSpPr>
          <p:nvPr>
            <p:ph type="title"/>
          </p:nvPr>
        </p:nvSpPr>
        <p:spPr>
          <a:xfrm>
            <a:off x="1745226" y="184776"/>
            <a:ext cx="7886700" cy="413654"/>
          </a:xfrm>
        </p:spPr>
        <p:txBody>
          <a:bodyPr/>
          <a:lstStyle/>
          <a:p>
            <a:r>
              <a:rPr lang="en-US" sz="2400" dirty="0"/>
              <a:t>APL Support</a:t>
            </a:r>
            <a:endParaRPr lang="en-GB" sz="2400" dirty="0"/>
          </a:p>
        </p:txBody>
      </p:sp>
      <p:pic>
        <p:nvPicPr>
          <p:cNvPr id="8" name="Picture 7">
            <a:extLst>
              <a:ext uri="{FF2B5EF4-FFF2-40B4-BE49-F238E27FC236}">
                <a16:creationId xmlns:a16="http://schemas.microsoft.com/office/drawing/2014/main" id="{AB03C9AC-0657-1E09-CFEA-A1AFD59A0C30}"/>
              </a:ext>
            </a:extLst>
          </p:cNvPr>
          <p:cNvPicPr>
            <a:picLocks noChangeAspect="1"/>
          </p:cNvPicPr>
          <p:nvPr/>
        </p:nvPicPr>
        <p:blipFill>
          <a:blip r:embed="rId2"/>
          <a:stretch>
            <a:fillRect/>
          </a:stretch>
        </p:blipFill>
        <p:spPr>
          <a:xfrm>
            <a:off x="3355815" y="2797259"/>
            <a:ext cx="2332761" cy="1035707"/>
          </a:xfrm>
          <a:prstGeom prst="rect">
            <a:avLst/>
          </a:prstGeom>
        </p:spPr>
      </p:pic>
      <p:grpSp>
        <p:nvGrpSpPr>
          <p:cNvPr id="10" name="Group 9">
            <a:extLst>
              <a:ext uri="{FF2B5EF4-FFF2-40B4-BE49-F238E27FC236}">
                <a16:creationId xmlns:a16="http://schemas.microsoft.com/office/drawing/2014/main" id="{4BA9C81C-4156-8428-28E7-95901DD5B307}"/>
              </a:ext>
            </a:extLst>
          </p:cNvPr>
          <p:cNvGrpSpPr/>
          <p:nvPr/>
        </p:nvGrpSpPr>
        <p:grpSpPr>
          <a:xfrm>
            <a:off x="433149" y="2331613"/>
            <a:ext cx="2400300" cy="2305417"/>
            <a:chOff x="415796" y="2407813"/>
            <a:chExt cx="2400300" cy="2305417"/>
          </a:xfrm>
        </p:grpSpPr>
        <p:pic>
          <p:nvPicPr>
            <p:cNvPr id="4098" name="Picture 2" descr="Endress+Hauser | Portfolio categories | Gama Engineering">
              <a:extLst>
                <a:ext uri="{FF2B5EF4-FFF2-40B4-BE49-F238E27FC236}">
                  <a16:creationId xmlns:a16="http://schemas.microsoft.com/office/drawing/2014/main" id="{164FE41E-6F96-4254-AAFE-3FEA676771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796" y="3513080"/>
              <a:ext cx="2400300" cy="120015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Ethernet-APL is ready to use | Endress+Hauser">
              <a:extLst>
                <a:ext uri="{FF2B5EF4-FFF2-40B4-BE49-F238E27FC236}">
                  <a16:creationId xmlns:a16="http://schemas.microsoft.com/office/drawing/2014/main" id="{B0441B2E-AD96-6CB6-B22B-23C310F74EC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5299" y="2407813"/>
              <a:ext cx="2132065" cy="12001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62514848-3DCC-CEFF-9AC4-30CB0E06C932}"/>
              </a:ext>
            </a:extLst>
          </p:cNvPr>
          <p:cNvGrpSpPr/>
          <p:nvPr/>
        </p:nvGrpSpPr>
        <p:grpSpPr>
          <a:xfrm>
            <a:off x="6460228" y="2164199"/>
            <a:ext cx="2160270" cy="2672999"/>
            <a:chOff x="6460228" y="2141136"/>
            <a:chExt cx="2160270" cy="2909843"/>
          </a:xfrm>
        </p:grpSpPr>
        <p:pic>
          <p:nvPicPr>
            <p:cNvPr id="4100" name="Picture 4">
              <a:extLst>
                <a:ext uri="{FF2B5EF4-FFF2-40B4-BE49-F238E27FC236}">
                  <a16:creationId xmlns:a16="http://schemas.microsoft.com/office/drawing/2014/main" id="{63DB8D1B-26FD-8BEA-BFE4-9F3118BB111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60228" y="3850829"/>
              <a:ext cx="2160270" cy="12001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Ethernet-APL Rail Field Switch ARS11-B2-IC16-2">
              <a:extLst>
                <a:ext uri="{FF2B5EF4-FFF2-40B4-BE49-F238E27FC236}">
                  <a16:creationId xmlns:a16="http://schemas.microsoft.com/office/drawing/2014/main" id="{D066981B-0AE6-24E8-AE66-3CC024B55C3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33309" y="2141136"/>
              <a:ext cx="1475509" cy="1951122"/>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329D934C-B443-06E5-4644-C1AE8F0564B2}"/>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25798024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
                                            <p:txEl>
                                              <p:pRg st="1" end="1"/>
                                            </p:txEl>
                                          </p:spTgt>
                                        </p:tgtEl>
                                        <p:attrNameLst>
                                          <p:attrName>style.visibility</p:attrName>
                                        </p:attrNameLst>
                                      </p:cBhvr>
                                      <p:to>
                                        <p:strVal val="visible"/>
                                      </p:to>
                                    </p:set>
                                    <p:animEffect transition="in" filter="fade">
                                      <p:cBhvr>
                                        <p:cTn id="16" dur="500"/>
                                        <p:tgtEl>
                                          <p:spTgt spid="2">
                                            <p:txEl>
                                              <p:pRg st="1" end="1"/>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5260B-9E02-71A9-C8AA-872D0B6B19A1}"/>
              </a:ext>
            </a:extLst>
          </p:cNvPr>
          <p:cNvSpPr>
            <a:spLocks noGrp="1"/>
          </p:cNvSpPr>
          <p:nvPr>
            <p:ph type="title"/>
          </p:nvPr>
        </p:nvSpPr>
        <p:spPr>
          <a:xfrm>
            <a:off x="1786789" y="161049"/>
            <a:ext cx="7886700" cy="413654"/>
          </a:xfrm>
        </p:spPr>
        <p:txBody>
          <a:bodyPr/>
          <a:lstStyle/>
          <a:p>
            <a:r>
              <a:rPr lang="en-US" sz="2400" dirty="0"/>
              <a:t>APL – Proven Technology</a:t>
            </a:r>
            <a:endParaRPr lang="en-GB" sz="2400" dirty="0"/>
          </a:p>
        </p:txBody>
      </p:sp>
      <p:sp>
        <p:nvSpPr>
          <p:cNvPr id="8" name="TextBox 7">
            <a:extLst>
              <a:ext uri="{FF2B5EF4-FFF2-40B4-BE49-F238E27FC236}">
                <a16:creationId xmlns:a16="http://schemas.microsoft.com/office/drawing/2014/main" id="{A81AA967-A181-DC6B-A57A-60C30C286DFC}"/>
              </a:ext>
            </a:extLst>
          </p:cNvPr>
          <p:cNvSpPr txBox="1"/>
          <p:nvPr/>
        </p:nvSpPr>
        <p:spPr>
          <a:xfrm>
            <a:off x="96981" y="1056737"/>
            <a:ext cx="5291335" cy="3477875"/>
          </a:xfrm>
          <a:prstGeom prst="rect">
            <a:avLst/>
          </a:prstGeom>
          <a:noFill/>
        </p:spPr>
        <p:txBody>
          <a:bodyPr wrap="square">
            <a:spAutoFit/>
          </a:bodyPr>
          <a:lstStyle/>
          <a:p>
            <a:pPr marL="285750" indent="-285750" algn="l">
              <a:buFont typeface="Arial" panose="020B0604020202020204" pitchFamily="34" charset="0"/>
              <a:buChar char="•"/>
            </a:pPr>
            <a:r>
              <a:rPr lang="en-US" sz="2000" b="0" i="0" dirty="0">
                <a:solidFill>
                  <a:srgbClr val="333333"/>
                </a:solidFill>
                <a:effectLst/>
                <a:latin typeface="Calibri" panose="020F0502020204030204" pitchFamily="34" charset="0"/>
                <a:cs typeface="Calibri" panose="020F0502020204030204" pitchFamily="34" charset="0"/>
              </a:rPr>
              <a:t>The first test was set up with nearly 240 </a:t>
            </a:r>
            <a:r>
              <a:rPr lang="en-US" sz="2000" b="1" i="0" dirty="0">
                <a:solidFill>
                  <a:srgbClr val="333333"/>
                </a:solidFill>
                <a:effectLst/>
                <a:latin typeface="Calibri" panose="020F0502020204030204" pitchFamily="34" charset="0"/>
                <a:cs typeface="Calibri" panose="020F0502020204030204" pitchFamily="34" charset="0"/>
              </a:rPr>
              <a:t>Endress+Hauser </a:t>
            </a:r>
            <a:r>
              <a:rPr lang="en-US" sz="2000" b="0" i="0" dirty="0">
                <a:solidFill>
                  <a:srgbClr val="333333"/>
                </a:solidFill>
                <a:effectLst/>
                <a:latin typeface="Calibri" panose="020F0502020204030204" pitchFamily="34" charset="0"/>
                <a:cs typeface="Calibri" panose="020F0502020204030204" pitchFamily="34" charset="0"/>
              </a:rPr>
              <a:t>measuring devices, including flow, pressure, temperature and level sensors. </a:t>
            </a:r>
          </a:p>
          <a:p>
            <a:pPr marL="285750" indent="-285750" algn="l">
              <a:buFont typeface="Arial" panose="020B0604020202020204" pitchFamily="34" charset="0"/>
              <a:buChar char="•"/>
            </a:pPr>
            <a:r>
              <a:rPr lang="en-US" sz="2000" b="0" i="0" dirty="0">
                <a:solidFill>
                  <a:srgbClr val="333333"/>
                </a:solidFill>
                <a:effectLst/>
                <a:latin typeface="Calibri" panose="020F0502020204030204" pitchFamily="34" charset="0"/>
                <a:cs typeface="Calibri" panose="020F0502020204030204" pitchFamily="34" charset="0"/>
              </a:rPr>
              <a:t>They were integrated into a system with </a:t>
            </a:r>
            <a:r>
              <a:rPr lang="en-US" sz="2000" b="1" i="0" dirty="0">
                <a:solidFill>
                  <a:srgbClr val="333333"/>
                </a:solidFill>
                <a:effectLst/>
                <a:latin typeface="Calibri" panose="020F0502020204030204" pitchFamily="34" charset="0"/>
                <a:cs typeface="Calibri" panose="020F0502020204030204" pitchFamily="34" charset="0"/>
              </a:rPr>
              <a:t>Pepperl+Fuchs</a:t>
            </a:r>
            <a:r>
              <a:rPr lang="en-US" sz="2000" b="0" i="0" dirty="0">
                <a:solidFill>
                  <a:srgbClr val="333333"/>
                </a:solidFill>
                <a:effectLst/>
                <a:latin typeface="Calibri" panose="020F0502020204030204" pitchFamily="34" charset="0"/>
                <a:cs typeface="Calibri" panose="020F0502020204030204" pitchFamily="34" charset="0"/>
              </a:rPr>
              <a:t>’ field switches and a </a:t>
            </a:r>
            <a:r>
              <a:rPr lang="en-US" sz="2000" b="1" i="0" dirty="0">
                <a:solidFill>
                  <a:srgbClr val="333333"/>
                </a:solidFill>
                <a:effectLst/>
                <a:latin typeface="Calibri" panose="020F0502020204030204" pitchFamily="34" charset="0"/>
                <a:cs typeface="Calibri" panose="020F0502020204030204" pitchFamily="34" charset="0"/>
              </a:rPr>
              <a:t>Honeywell </a:t>
            </a:r>
            <a:r>
              <a:rPr lang="en-US" sz="2000" b="0" i="0" dirty="0">
                <a:solidFill>
                  <a:srgbClr val="333333"/>
                </a:solidFill>
                <a:effectLst/>
                <a:latin typeface="Calibri" panose="020F0502020204030204" pitchFamily="34" charset="0"/>
                <a:cs typeface="Calibri" panose="020F0502020204030204" pitchFamily="34" charset="0"/>
              </a:rPr>
              <a:t>control system, all using Ethernet-APL and PROFINET. </a:t>
            </a:r>
          </a:p>
          <a:p>
            <a:pPr algn="l"/>
            <a:endParaRPr lang="en-US" sz="2000" b="0" i="0" dirty="0">
              <a:solidFill>
                <a:srgbClr val="333333"/>
              </a:solidFill>
              <a:effectLst/>
              <a:latin typeface="Calibri" panose="020F0502020204030204" pitchFamily="34" charset="0"/>
              <a:cs typeface="Calibri" panose="020F0502020204030204" pitchFamily="34" charset="0"/>
            </a:endParaRPr>
          </a:p>
          <a:p>
            <a:pPr marL="285750" indent="-285750" algn="l">
              <a:buFont typeface="Arial" panose="020B0604020202020204" pitchFamily="34" charset="0"/>
              <a:buChar char="•"/>
            </a:pPr>
            <a:r>
              <a:rPr lang="en-US" sz="2000" b="0" i="0" dirty="0">
                <a:solidFill>
                  <a:srgbClr val="333333"/>
                </a:solidFill>
                <a:effectLst/>
                <a:latin typeface="Calibri" panose="020F0502020204030204" pitchFamily="34" charset="0"/>
                <a:cs typeface="Calibri" panose="020F0502020204030204" pitchFamily="34" charset="0"/>
              </a:rPr>
              <a:t>For the second test </a:t>
            </a:r>
            <a:r>
              <a:rPr lang="en-US" sz="2000" b="1" i="0" dirty="0">
                <a:solidFill>
                  <a:srgbClr val="333333"/>
                </a:solidFill>
                <a:effectLst/>
                <a:latin typeface="Calibri" panose="020F0502020204030204" pitchFamily="34" charset="0"/>
                <a:cs typeface="Calibri" panose="020F0502020204030204" pitchFamily="34" charset="0"/>
              </a:rPr>
              <a:t>ABB</a:t>
            </a:r>
            <a:r>
              <a:rPr lang="en-US" sz="2000" b="0" i="0" dirty="0">
                <a:solidFill>
                  <a:srgbClr val="333333"/>
                </a:solidFill>
                <a:effectLst/>
                <a:latin typeface="Calibri" panose="020F0502020204030204" pitchFamily="34" charset="0"/>
                <a:cs typeface="Calibri" panose="020F0502020204030204" pitchFamily="34" charset="0"/>
              </a:rPr>
              <a:t> provided the control system and was tested along with the previous field switches and measuring devices.</a:t>
            </a:r>
          </a:p>
        </p:txBody>
      </p:sp>
      <p:pic>
        <p:nvPicPr>
          <p:cNvPr id="10" name="Picture 9">
            <a:extLst>
              <a:ext uri="{FF2B5EF4-FFF2-40B4-BE49-F238E27FC236}">
                <a16:creationId xmlns:a16="http://schemas.microsoft.com/office/drawing/2014/main" id="{F332CA35-3737-DECB-807B-81CE15116810}"/>
              </a:ext>
            </a:extLst>
          </p:cNvPr>
          <p:cNvPicPr>
            <a:picLocks noChangeAspect="1"/>
          </p:cNvPicPr>
          <p:nvPr/>
        </p:nvPicPr>
        <p:blipFill>
          <a:blip r:embed="rId2"/>
          <a:stretch>
            <a:fillRect/>
          </a:stretch>
        </p:blipFill>
        <p:spPr>
          <a:xfrm>
            <a:off x="5823499" y="1023327"/>
            <a:ext cx="2533572" cy="3427317"/>
          </a:xfrm>
          <a:prstGeom prst="rect">
            <a:avLst/>
          </a:prstGeom>
        </p:spPr>
      </p:pic>
      <p:sp>
        <p:nvSpPr>
          <p:cNvPr id="2" name="TextBox 1">
            <a:extLst>
              <a:ext uri="{FF2B5EF4-FFF2-40B4-BE49-F238E27FC236}">
                <a16:creationId xmlns:a16="http://schemas.microsoft.com/office/drawing/2014/main" id="{FC1DB9C3-74D2-A0B2-E581-E1BA6BF9F909}"/>
              </a:ext>
            </a:extLst>
          </p:cNvPr>
          <p:cNvSpPr txBox="1"/>
          <p:nvPr/>
        </p:nvSpPr>
        <p:spPr>
          <a:xfrm>
            <a:off x="7193330" y="4529403"/>
            <a:ext cx="1513556" cy="246221"/>
          </a:xfrm>
          <a:prstGeom prst="rect">
            <a:avLst/>
          </a:prstGeom>
          <a:noFill/>
        </p:spPr>
        <p:txBody>
          <a:bodyPr wrap="none" rtlCol="0">
            <a:spAutoFit/>
          </a:bodyPr>
          <a:lstStyle/>
          <a:p>
            <a:r>
              <a:rPr lang="en-US" sz="1000" dirty="0"/>
              <a:t>Images – Endress+Hauser</a:t>
            </a:r>
            <a:endParaRPr lang="en-GB" sz="1000" dirty="0"/>
          </a:p>
        </p:txBody>
      </p:sp>
      <p:sp>
        <p:nvSpPr>
          <p:cNvPr id="4" name="TextBox 3">
            <a:extLst>
              <a:ext uri="{FF2B5EF4-FFF2-40B4-BE49-F238E27FC236}">
                <a16:creationId xmlns:a16="http://schemas.microsoft.com/office/drawing/2014/main" id="{670996AF-E36B-7F55-9923-847C6F781DCE}"/>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4243772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3" end="3"/>
                                            </p:txEl>
                                          </p:spTgt>
                                        </p:tgtEl>
                                        <p:attrNameLst>
                                          <p:attrName>style.visibility</p:attrName>
                                        </p:attrNameLst>
                                      </p:cBhvr>
                                      <p:to>
                                        <p:strVal val="visible"/>
                                      </p:to>
                                    </p:set>
                                    <p:animEffect transition="in" filter="fade">
                                      <p:cBhvr>
                                        <p:cTn id="12"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5260B-9E02-71A9-C8AA-872D0B6B19A1}"/>
              </a:ext>
            </a:extLst>
          </p:cNvPr>
          <p:cNvSpPr>
            <a:spLocks noGrp="1"/>
          </p:cNvSpPr>
          <p:nvPr>
            <p:ph type="title"/>
          </p:nvPr>
        </p:nvSpPr>
        <p:spPr>
          <a:xfrm>
            <a:off x="1862990" y="184339"/>
            <a:ext cx="7886700" cy="413654"/>
          </a:xfrm>
        </p:spPr>
        <p:txBody>
          <a:bodyPr/>
          <a:lstStyle/>
          <a:p>
            <a:r>
              <a:rPr lang="en-US" sz="2400" dirty="0"/>
              <a:t>APL – Proven Technology</a:t>
            </a:r>
            <a:endParaRPr lang="en-GB" sz="2400" dirty="0"/>
          </a:p>
        </p:txBody>
      </p:sp>
      <p:sp>
        <p:nvSpPr>
          <p:cNvPr id="8" name="TextBox 7">
            <a:extLst>
              <a:ext uri="{FF2B5EF4-FFF2-40B4-BE49-F238E27FC236}">
                <a16:creationId xmlns:a16="http://schemas.microsoft.com/office/drawing/2014/main" id="{A81AA967-A181-DC6B-A57A-60C30C286DFC}"/>
              </a:ext>
            </a:extLst>
          </p:cNvPr>
          <p:cNvSpPr txBox="1"/>
          <p:nvPr/>
        </p:nvSpPr>
        <p:spPr>
          <a:xfrm>
            <a:off x="144728" y="940534"/>
            <a:ext cx="8694458" cy="1631216"/>
          </a:xfrm>
          <a:prstGeom prst="rect">
            <a:avLst/>
          </a:prstGeom>
          <a:noFill/>
        </p:spPr>
        <p:txBody>
          <a:bodyPr wrap="square">
            <a:spAutoFit/>
          </a:bodyPr>
          <a:lstStyle/>
          <a:p>
            <a:pPr marL="285750" indent="-285750" algn="l">
              <a:buFont typeface="Arial" panose="020B0604020202020204" pitchFamily="34" charset="0"/>
              <a:buChar char="•"/>
            </a:pPr>
            <a:r>
              <a:rPr lang="en-US" sz="2000" b="0" i="0" dirty="0">
                <a:solidFill>
                  <a:srgbClr val="333333"/>
                </a:solidFill>
                <a:effectLst/>
              </a:rPr>
              <a:t>The test results were conclusive: Ethernet-APL can be used under realistic circumstances. The test cases were carried out with maximum network layout, and the scalability and fault tolerance were successfully verified. </a:t>
            </a:r>
          </a:p>
          <a:p>
            <a:pPr marL="285750" indent="-285750" algn="l">
              <a:buFont typeface="Arial" panose="020B0604020202020204" pitchFamily="34" charset="0"/>
              <a:buChar char="•"/>
            </a:pPr>
            <a:r>
              <a:rPr lang="en-US" sz="2000" b="0" i="0" dirty="0">
                <a:solidFill>
                  <a:srgbClr val="333333"/>
                </a:solidFill>
                <a:effectLst/>
              </a:rPr>
              <a:t>All relevant requirements like total netload or redundancy switch-over times were met or exceeded.</a:t>
            </a:r>
          </a:p>
        </p:txBody>
      </p:sp>
      <p:pic>
        <p:nvPicPr>
          <p:cNvPr id="2" name="Picture 1">
            <a:extLst>
              <a:ext uri="{FF2B5EF4-FFF2-40B4-BE49-F238E27FC236}">
                <a16:creationId xmlns:a16="http://schemas.microsoft.com/office/drawing/2014/main" id="{B866C19C-CE5C-832D-A9D9-C65C54AA8396}"/>
              </a:ext>
            </a:extLst>
          </p:cNvPr>
          <p:cNvPicPr>
            <a:picLocks noChangeAspect="1"/>
          </p:cNvPicPr>
          <p:nvPr/>
        </p:nvPicPr>
        <p:blipFill>
          <a:blip r:embed="rId2"/>
          <a:stretch>
            <a:fillRect/>
          </a:stretch>
        </p:blipFill>
        <p:spPr>
          <a:xfrm>
            <a:off x="4491957" y="2283266"/>
            <a:ext cx="3994985" cy="2319564"/>
          </a:xfrm>
          <a:prstGeom prst="rect">
            <a:avLst/>
          </a:prstGeom>
        </p:spPr>
      </p:pic>
      <p:sp>
        <p:nvSpPr>
          <p:cNvPr id="4" name="TextBox 3">
            <a:extLst>
              <a:ext uri="{FF2B5EF4-FFF2-40B4-BE49-F238E27FC236}">
                <a16:creationId xmlns:a16="http://schemas.microsoft.com/office/drawing/2014/main" id="{8F23DF8F-B228-8AE1-C45E-B60704000A56}"/>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3573949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9F1DBBD-E06A-BC08-8BFE-CDDB064D8D34}"/>
              </a:ext>
            </a:extLst>
          </p:cNvPr>
          <p:cNvSpPr>
            <a:spLocks noGrp="1"/>
          </p:cNvSpPr>
          <p:nvPr>
            <p:ph idx="1"/>
          </p:nvPr>
        </p:nvSpPr>
        <p:spPr>
          <a:xfrm>
            <a:off x="502920" y="939998"/>
            <a:ext cx="7886700" cy="3263504"/>
          </a:xfrm>
        </p:spPr>
        <p:txBody>
          <a:bodyPr/>
          <a:lstStyle/>
          <a:p>
            <a:pPr marL="0" indent="0">
              <a:buNone/>
            </a:pPr>
            <a:r>
              <a:rPr lang="en-US" dirty="0"/>
              <a:t>The chemical company BASF have recently completed a proof on concept project using APL. The results of this are published on the Automation World web site:  </a:t>
            </a:r>
            <a:r>
              <a:rPr lang="en-US" dirty="0">
                <a:solidFill>
                  <a:srgbClr val="222222"/>
                </a:solidFill>
                <a:hlinkClick r:id="rId2"/>
              </a:rPr>
              <a:t>https://www.automationworld.com/</a:t>
            </a:r>
            <a:endParaRPr lang="en-US" dirty="0">
              <a:solidFill>
                <a:srgbClr val="222222"/>
              </a:solidFill>
            </a:endParaRPr>
          </a:p>
          <a:p>
            <a:pPr marL="0" indent="0">
              <a:buNone/>
            </a:pPr>
            <a:endParaRPr lang="en-US" dirty="0">
              <a:solidFill>
                <a:srgbClr val="222222"/>
              </a:solidFill>
              <a:latin typeface="Open Sans" panose="020B0606030504020204" pitchFamily="34" charset="0"/>
            </a:endParaRPr>
          </a:p>
          <a:p>
            <a:pPr marL="0" indent="0">
              <a:buNone/>
            </a:pPr>
            <a:endParaRPr lang="en-GB" dirty="0"/>
          </a:p>
        </p:txBody>
      </p:sp>
      <p:sp>
        <p:nvSpPr>
          <p:cNvPr id="3" name="Title 2">
            <a:extLst>
              <a:ext uri="{FF2B5EF4-FFF2-40B4-BE49-F238E27FC236}">
                <a16:creationId xmlns:a16="http://schemas.microsoft.com/office/drawing/2014/main" id="{89A11E23-74B2-94A8-40CB-1A0EEC8B8958}"/>
              </a:ext>
            </a:extLst>
          </p:cNvPr>
          <p:cNvSpPr>
            <a:spLocks noGrp="1"/>
          </p:cNvSpPr>
          <p:nvPr>
            <p:ph type="title"/>
          </p:nvPr>
        </p:nvSpPr>
        <p:spPr>
          <a:xfrm>
            <a:off x="1804035" y="178671"/>
            <a:ext cx="7886700" cy="413654"/>
          </a:xfrm>
        </p:spPr>
        <p:txBody>
          <a:bodyPr/>
          <a:lstStyle/>
          <a:p>
            <a:r>
              <a:rPr lang="en-US" sz="2400" dirty="0"/>
              <a:t>Case Study - BASF</a:t>
            </a:r>
            <a:endParaRPr lang="en-GB" sz="2400" dirty="0"/>
          </a:p>
        </p:txBody>
      </p:sp>
      <p:pic>
        <p:nvPicPr>
          <p:cNvPr id="6" name="Picture 5">
            <a:extLst>
              <a:ext uri="{FF2B5EF4-FFF2-40B4-BE49-F238E27FC236}">
                <a16:creationId xmlns:a16="http://schemas.microsoft.com/office/drawing/2014/main" id="{043E0400-884F-EE24-F422-006A998FC60B}"/>
              </a:ext>
            </a:extLst>
          </p:cNvPr>
          <p:cNvPicPr>
            <a:picLocks noChangeAspect="1"/>
          </p:cNvPicPr>
          <p:nvPr/>
        </p:nvPicPr>
        <p:blipFill>
          <a:blip r:embed="rId3"/>
          <a:stretch>
            <a:fillRect/>
          </a:stretch>
        </p:blipFill>
        <p:spPr>
          <a:xfrm>
            <a:off x="2979420" y="1828985"/>
            <a:ext cx="2933700" cy="581025"/>
          </a:xfrm>
          <a:prstGeom prst="rect">
            <a:avLst/>
          </a:prstGeom>
        </p:spPr>
      </p:pic>
      <p:sp>
        <p:nvSpPr>
          <p:cNvPr id="7" name="TextBox 6">
            <a:extLst>
              <a:ext uri="{FF2B5EF4-FFF2-40B4-BE49-F238E27FC236}">
                <a16:creationId xmlns:a16="http://schemas.microsoft.com/office/drawing/2014/main" id="{63687863-D825-7193-AD89-9F19A30F8EB4}"/>
              </a:ext>
            </a:extLst>
          </p:cNvPr>
          <p:cNvSpPr txBox="1"/>
          <p:nvPr/>
        </p:nvSpPr>
        <p:spPr>
          <a:xfrm>
            <a:off x="476093" y="2319955"/>
            <a:ext cx="8039257" cy="2956579"/>
          </a:xfrm>
          <a:prstGeom prst="rect">
            <a:avLst/>
          </a:prstGeom>
          <a:noFill/>
        </p:spPr>
        <p:txBody>
          <a:bodyPr wrap="square" rtlCol="0">
            <a:spAutoFit/>
          </a:bodyPr>
          <a:lstStyle/>
          <a:p>
            <a:r>
              <a:rPr lang="en-US" sz="1800" dirty="0"/>
              <a:t>They set three clear objectives:-</a:t>
            </a:r>
          </a:p>
          <a:p>
            <a:endParaRPr lang="en-US" sz="1800" dirty="0"/>
          </a:p>
          <a:p>
            <a:pPr marL="342900" indent="-342900">
              <a:buAutoNum type="arabicPeriod"/>
            </a:pPr>
            <a:r>
              <a:rPr lang="en-US" sz="1800" dirty="0"/>
              <a:t>To obtain additional data from the devices to allow a digital twin to be created.</a:t>
            </a:r>
          </a:p>
          <a:p>
            <a:pPr marL="342900" indent="-342900">
              <a:buAutoNum type="arabicPeriod"/>
            </a:pPr>
            <a:r>
              <a:rPr lang="en-US" sz="1800" dirty="0"/>
              <a:t>To collect similar data from across its sites to provide a better insight into their operations and promote standardization in maintenance and remote overseeing of operations.</a:t>
            </a:r>
          </a:p>
          <a:p>
            <a:pPr marL="342900" indent="-342900">
              <a:buAutoNum type="arabicPeriod"/>
            </a:pPr>
            <a:r>
              <a:rPr lang="en-US" sz="1800" dirty="0"/>
              <a:t>To aggregate the data overtime to allow correlations to be identified and </a:t>
            </a:r>
            <a:r>
              <a:rPr lang="en-US" sz="1800" dirty="0" err="1"/>
              <a:t>optimisation</a:t>
            </a:r>
            <a:r>
              <a:rPr lang="en-US" sz="1800" dirty="0"/>
              <a:t> to be improved</a:t>
            </a:r>
            <a:r>
              <a:rPr lang="en-US" dirty="0"/>
              <a:t>.</a:t>
            </a:r>
          </a:p>
          <a:p>
            <a:pPr marL="342900" indent="-342900">
              <a:buAutoNum type="arabicPeriod"/>
            </a:pPr>
            <a:endParaRPr lang="en-US" dirty="0"/>
          </a:p>
          <a:p>
            <a:endParaRPr lang="en-US" dirty="0"/>
          </a:p>
          <a:p>
            <a:endParaRPr lang="en-GB" dirty="0"/>
          </a:p>
        </p:txBody>
      </p:sp>
      <p:sp>
        <p:nvSpPr>
          <p:cNvPr id="8" name="TextBox 7">
            <a:extLst>
              <a:ext uri="{FF2B5EF4-FFF2-40B4-BE49-F238E27FC236}">
                <a16:creationId xmlns:a16="http://schemas.microsoft.com/office/drawing/2014/main" id="{94708990-1FA2-0101-CFFE-94A7FDCFD38C}"/>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2135841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Effect transition="in" filter="fade">
                                      <p:cBhvr>
                                        <p:cTn id="17" dur="500"/>
                                        <p:tgtEl>
                                          <p:spTgt spid="7">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4" end="4"/>
                                            </p:txEl>
                                          </p:spTgt>
                                        </p:tgtEl>
                                        <p:attrNameLst>
                                          <p:attrName>style.visibility</p:attrName>
                                        </p:attrNameLst>
                                      </p:cBhvr>
                                      <p:to>
                                        <p:strVal val="visible"/>
                                      </p:to>
                                    </p:set>
                                    <p:animEffect transition="in" filter="fade">
                                      <p:cBhvr>
                                        <p:cTn id="22"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C667CAF-7785-4929-2C3A-3BDB42E4EBD8}"/>
              </a:ext>
            </a:extLst>
          </p:cNvPr>
          <p:cNvSpPr txBox="1"/>
          <p:nvPr/>
        </p:nvSpPr>
        <p:spPr>
          <a:xfrm>
            <a:off x="205863" y="1012354"/>
            <a:ext cx="5754620" cy="3416320"/>
          </a:xfrm>
          <a:prstGeom prst="rect">
            <a:avLst/>
          </a:prstGeom>
          <a:noFill/>
        </p:spPr>
        <p:txBody>
          <a:bodyPr wrap="square">
            <a:spAutoFit/>
          </a:bodyPr>
          <a:lstStyle/>
          <a:p>
            <a:pPr marL="285750" indent="-285750">
              <a:buFont typeface="Arial" panose="020B0604020202020204" pitchFamily="34" charset="0"/>
              <a:buChar char="•"/>
            </a:pPr>
            <a:r>
              <a:rPr lang="en-GB" sz="1800" dirty="0"/>
              <a:t>Powered spur ports </a:t>
            </a:r>
            <a:r>
              <a:rPr lang="en-GB" sz="1800" b="1" dirty="0"/>
              <a:t>intrinsically safe Ex ic </a:t>
            </a:r>
            <a:r>
              <a:rPr lang="en-GB" sz="1800" dirty="0"/>
              <a:t>according to </a:t>
            </a:r>
            <a:r>
              <a:rPr lang="en-GB" sz="1800" b="1" dirty="0"/>
              <a:t>2-WISE</a:t>
            </a:r>
            <a:r>
              <a:rPr lang="en-GB" sz="1800" dirty="0"/>
              <a:t> and </a:t>
            </a:r>
            <a:r>
              <a:rPr lang="en-GB" sz="1800" b="1" dirty="0"/>
              <a:t>FISCO (11.6v, 95mA and 1.11W)</a:t>
            </a:r>
          </a:p>
          <a:p>
            <a:pPr marL="285750" indent="-285750">
              <a:buFont typeface="Arial" panose="020B0604020202020204" pitchFamily="34" charset="0"/>
              <a:buChar char="•"/>
            </a:pPr>
            <a:r>
              <a:rPr lang="en-GB" sz="1800" b="1" dirty="0"/>
              <a:t>PROFINET</a:t>
            </a:r>
            <a:r>
              <a:rPr lang="en-GB" sz="1800" dirty="0"/>
              <a:t> </a:t>
            </a:r>
            <a:r>
              <a:rPr lang="en-GB" sz="1800" b="1" dirty="0"/>
              <a:t>MRP</a:t>
            </a:r>
            <a:r>
              <a:rPr lang="en-GB" sz="1800" dirty="0"/>
              <a:t>, </a:t>
            </a:r>
            <a:r>
              <a:rPr lang="en-GB" sz="1800" b="1" dirty="0"/>
              <a:t>S2 redundancy </a:t>
            </a:r>
            <a:r>
              <a:rPr lang="en-GB" sz="1800" dirty="0"/>
              <a:t>and dynamic reconfiguration</a:t>
            </a:r>
          </a:p>
          <a:p>
            <a:pPr marL="285750" indent="-285750">
              <a:buFont typeface="Arial" panose="020B0604020202020204" pitchFamily="34" charset="0"/>
              <a:buChar char="•"/>
            </a:pPr>
            <a:r>
              <a:rPr lang="en-GB" sz="1800" dirty="0"/>
              <a:t>2 ports each for 1000BASE-T and SFP transceivers</a:t>
            </a:r>
          </a:p>
          <a:p>
            <a:pPr marL="285750" indent="-285750">
              <a:buFont typeface="Arial" panose="020B0604020202020204" pitchFamily="34" charset="0"/>
              <a:buChar char="•"/>
            </a:pPr>
            <a:r>
              <a:rPr lang="en-GB" sz="1800" dirty="0"/>
              <a:t>Redundant power input 20 VDC ... 60 VDC</a:t>
            </a:r>
          </a:p>
          <a:p>
            <a:pPr marL="285750" indent="-285750">
              <a:buFont typeface="Arial" panose="020B0604020202020204" pitchFamily="34" charset="0"/>
              <a:buChar char="•"/>
            </a:pPr>
            <a:r>
              <a:rPr lang="en-GB" sz="1800" b="1" dirty="0"/>
              <a:t>Installation in Zone 2</a:t>
            </a:r>
          </a:p>
          <a:p>
            <a:pPr marL="285750" indent="-285750">
              <a:buFont typeface="Arial" panose="020B0604020202020204" pitchFamily="34" charset="0"/>
              <a:buChar char="•"/>
            </a:pPr>
            <a:r>
              <a:rPr lang="en-GB" sz="1800" dirty="0"/>
              <a:t>Physical layer diagnostics at the spur</a:t>
            </a:r>
          </a:p>
          <a:p>
            <a:pPr marL="285750" indent="-285750">
              <a:buFont typeface="Arial" panose="020B0604020202020204" pitchFamily="34" charset="0"/>
              <a:buChar char="•"/>
            </a:pPr>
            <a:r>
              <a:rPr lang="en-GB" sz="1800" dirty="0"/>
              <a:t>Configuration and diagnosis with </a:t>
            </a:r>
            <a:r>
              <a:rPr lang="en-GB" sz="1800" b="1" dirty="0"/>
              <a:t>FDI</a:t>
            </a:r>
            <a:r>
              <a:rPr lang="en-GB" sz="1800" dirty="0"/>
              <a:t>, web interface, PROFINET device functions and </a:t>
            </a:r>
            <a:r>
              <a:rPr lang="en-GB" sz="1800" b="1" dirty="0"/>
              <a:t>SNMP</a:t>
            </a:r>
          </a:p>
          <a:p>
            <a:pPr marL="285750" indent="-285750">
              <a:buFont typeface="Arial" panose="020B0604020202020204" pitchFamily="34" charset="0"/>
              <a:buChar char="•"/>
            </a:pPr>
            <a:r>
              <a:rPr lang="en-GB" sz="1800" dirty="0"/>
              <a:t>Support of network security</a:t>
            </a:r>
          </a:p>
          <a:p>
            <a:pPr marL="285750" indent="-285750">
              <a:buFont typeface="Arial" panose="020B0604020202020204" pitchFamily="34" charset="0"/>
              <a:buChar char="•"/>
            </a:pPr>
            <a:r>
              <a:rPr lang="en-GB" sz="1800" dirty="0"/>
              <a:t>Support of Ethernet-APL and PROFIBUS PA instruments</a:t>
            </a:r>
          </a:p>
        </p:txBody>
      </p:sp>
      <p:pic>
        <p:nvPicPr>
          <p:cNvPr id="1026" name="Picture 2" descr="Ethernet-APL Rail Field Switch ARS11-B2-IC08-1">
            <a:extLst>
              <a:ext uri="{FF2B5EF4-FFF2-40B4-BE49-F238E27FC236}">
                <a16:creationId xmlns:a16="http://schemas.microsoft.com/office/drawing/2014/main" id="{61D51F66-90BB-3D1A-59BC-CCD5CBAA11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14277" y="901576"/>
            <a:ext cx="2167722" cy="238449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E14E5848-A5F3-CF35-1F33-D64BA74FDE62}"/>
              </a:ext>
            </a:extLst>
          </p:cNvPr>
          <p:cNvPicPr>
            <a:picLocks noChangeAspect="1"/>
          </p:cNvPicPr>
          <p:nvPr/>
        </p:nvPicPr>
        <p:blipFill>
          <a:blip r:embed="rId3"/>
          <a:stretch>
            <a:fillRect/>
          </a:stretch>
        </p:blipFill>
        <p:spPr>
          <a:xfrm>
            <a:off x="6023487" y="3360787"/>
            <a:ext cx="2914650" cy="1381125"/>
          </a:xfrm>
          <a:prstGeom prst="rect">
            <a:avLst/>
          </a:prstGeom>
        </p:spPr>
      </p:pic>
      <p:sp>
        <p:nvSpPr>
          <p:cNvPr id="4" name="TextBox 3">
            <a:extLst>
              <a:ext uri="{FF2B5EF4-FFF2-40B4-BE49-F238E27FC236}">
                <a16:creationId xmlns:a16="http://schemas.microsoft.com/office/drawing/2014/main" id="{FA2A1598-4D78-7554-6212-492B7DDCB90F}"/>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
        <p:nvSpPr>
          <p:cNvPr id="7" name="Title 2">
            <a:extLst>
              <a:ext uri="{FF2B5EF4-FFF2-40B4-BE49-F238E27FC236}">
                <a16:creationId xmlns:a16="http://schemas.microsoft.com/office/drawing/2014/main" id="{77FE95DB-B32C-7E4B-B01F-D741FE47A3BE}"/>
              </a:ext>
            </a:extLst>
          </p:cNvPr>
          <p:cNvSpPr>
            <a:spLocks noGrp="1"/>
          </p:cNvSpPr>
          <p:nvPr>
            <p:ph type="title"/>
          </p:nvPr>
        </p:nvSpPr>
        <p:spPr>
          <a:xfrm>
            <a:off x="1703662" y="194761"/>
            <a:ext cx="7886700" cy="413654"/>
          </a:xfrm>
        </p:spPr>
        <p:txBody>
          <a:bodyPr/>
          <a:lstStyle/>
          <a:p>
            <a:r>
              <a:rPr lang="en-US" sz="2400" dirty="0"/>
              <a:t>APL Switches (EX ic)</a:t>
            </a:r>
            <a:endParaRPr lang="en-GB" sz="2400" dirty="0"/>
          </a:p>
        </p:txBody>
      </p:sp>
    </p:spTree>
    <p:extLst>
      <p:ext uri="{BB962C8B-B14F-4D97-AF65-F5344CB8AC3E}">
        <p14:creationId xmlns:p14="http://schemas.microsoft.com/office/powerpoint/2010/main" val="1794775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2" end="2"/>
                                            </p:txEl>
                                          </p:spTgt>
                                        </p:tgtEl>
                                        <p:attrNameLst>
                                          <p:attrName>style.visibility</p:attrName>
                                        </p:attrNameLst>
                                      </p:cBhvr>
                                      <p:to>
                                        <p:strVal val="visible"/>
                                      </p:to>
                                    </p:set>
                                    <p:animEffect transition="in" filter="fade">
                                      <p:cBhvr>
                                        <p:cTn id="12" dur="500"/>
                                        <p:tgtEl>
                                          <p:spTgt spid="8">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3" end="3"/>
                                            </p:txEl>
                                          </p:spTgt>
                                        </p:tgtEl>
                                        <p:attrNameLst>
                                          <p:attrName>style.visibility</p:attrName>
                                        </p:attrNameLst>
                                      </p:cBhvr>
                                      <p:to>
                                        <p:strVal val="visible"/>
                                      </p:to>
                                    </p:set>
                                    <p:animEffect transition="in" filter="fade">
                                      <p:cBhvr>
                                        <p:cTn id="17" dur="500"/>
                                        <p:tgtEl>
                                          <p:spTgt spid="8">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4" end="4"/>
                                            </p:txEl>
                                          </p:spTgt>
                                        </p:tgtEl>
                                        <p:attrNameLst>
                                          <p:attrName>style.visibility</p:attrName>
                                        </p:attrNameLst>
                                      </p:cBhvr>
                                      <p:to>
                                        <p:strVal val="visible"/>
                                      </p:to>
                                    </p:set>
                                    <p:animEffect transition="in" filter="fade">
                                      <p:cBhvr>
                                        <p:cTn id="22" dur="500"/>
                                        <p:tgtEl>
                                          <p:spTgt spid="8">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5" end="5"/>
                                            </p:txEl>
                                          </p:spTgt>
                                        </p:tgtEl>
                                        <p:attrNameLst>
                                          <p:attrName>style.visibility</p:attrName>
                                        </p:attrNameLst>
                                      </p:cBhvr>
                                      <p:to>
                                        <p:strVal val="visible"/>
                                      </p:to>
                                    </p:set>
                                    <p:animEffect transition="in" filter="fade">
                                      <p:cBhvr>
                                        <p:cTn id="27" dur="500"/>
                                        <p:tgtEl>
                                          <p:spTgt spid="8">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6" end="6"/>
                                            </p:txEl>
                                          </p:spTgt>
                                        </p:tgtEl>
                                        <p:attrNameLst>
                                          <p:attrName>style.visibility</p:attrName>
                                        </p:attrNameLst>
                                      </p:cBhvr>
                                      <p:to>
                                        <p:strVal val="visible"/>
                                      </p:to>
                                    </p:set>
                                    <p:animEffect transition="in" filter="fade">
                                      <p:cBhvr>
                                        <p:cTn id="32" dur="500"/>
                                        <p:tgtEl>
                                          <p:spTgt spid="8">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7" end="7"/>
                                            </p:txEl>
                                          </p:spTgt>
                                        </p:tgtEl>
                                        <p:attrNameLst>
                                          <p:attrName>style.visibility</p:attrName>
                                        </p:attrNameLst>
                                      </p:cBhvr>
                                      <p:to>
                                        <p:strVal val="visible"/>
                                      </p:to>
                                    </p:set>
                                    <p:animEffect transition="in" filter="fade">
                                      <p:cBhvr>
                                        <p:cTn id="37" dur="500"/>
                                        <p:tgtEl>
                                          <p:spTgt spid="8">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
                                            <p:txEl>
                                              <p:pRg st="8" end="8"/>
                                            </p:txEl>
                                          </p:spTgt>
                                        </p:tgtEl>
                                        <p:attrNameLst>
                                          <p:attrName>style.visibility</p:attrName>
                                        </p:attrNameLst>
                                      </p:cBhvr>
                                      <p:to>
                                        <p:strVal val="visible"/>
                                      </p:to>
                                    </p:set>
                                    <p:animEffect transition="in" filter="fade">
                                      <p:cBhvr>
                                        <p:cTn id="42" dur="500"/>
                                        <p:tgtEl>
                                          <p:spTgt spid="8">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86374C-3DFE-858E-7A46-997ACFDBCE86}"/>
              </a:ext>
            </a:extLst>
          </p:cNvPr>
          <p:cNvSpPr>
            <a:spLocks noGrp="1"/>
          </p:cNvSpPr>
          <p:nvPr>
            <p:ph type="title"/>
          </p:nvPr>
        </p:nvSpPr>
        <p:spPr>
          <a:xfrm>
            <a:off x="1703662" y="194761"/>
            <a:ext cx="7886700" cy="413654"/>
          </a:xfrm>
        </p:spPr>
        <p:txBody>
          <a:bodyPr/>
          <a:lstStyle/>
          <a:p>
            <a:r>
              <a:rPr lang="en-US" sz="2400" dirty="0"/>
              <a:t>APL Switches (EX ia)</a:t>
            </a:r>
            <a:endParaRPr lang="en-GB" sz="2400" dirty="0"/>
          </a:p>
        </p:txBody>
      </p:sp>
      <p:sp>
        <p:nvSpPr>
          <p:cNvPr id="8" name="TextBox 7">
            <a:extLst>
              <a:ext uri="{FF2B5EF4-FFF2-40B4-BE49-F238E27FC236}">
                <a16:creationId xmlns:a16="http://schemas.microsoft.com/office/drawing/2014/main" id="{7C667CAF-7785-4929-2C3A-3BDB42E4EBD8}"/>
              </a:ext>
            </a:extLst>
          </p:cNvPr>
          <p:cNvSpPr txBox="1"/>
          <p:nvPr/>
        </p:nvSpPr>
        <p:spPr>
          <a:xfrm>
            <a:off x="153520" y="1109336"/>
            <a:ext cx="5754620" cy="3416320"/>
          </a:xfrm>
          <a:prstGeom prst="rect">
            <a:avLst/>
          </a:prstGeom>
          <a:noFill/>
        </p:spPr>
        <p:txBody>
          <a:bodyPr wrap="square">
            <a:spAutoFit/>
          </a:bodyPr>
          <a:lstStyle/>
          <a:p>
            <a:pPr marL="285750" indent="-285750">
              <a:buFont typeface="Arial" panose="020B0604020202020204" pitchFamily="34" charset="0"/>
              <a:buChar char="•"/>
            </a:pPr>
            <a:r>
              <a:rPr lang="en-US" sz="1800" dirty="0"/>
              <a:t>Powered spur ports </a:t>
            </a:r>
            <a:r>
              <a:rPr lang="en-US" sz="1800" b="1" dirty="0"/>
              <a:t>intrinsically safe Ex ia </a:t>
            </a:r>
            <a:r>
              <a:rPr lang="en-US" sz="1800" dirty="0"/>
              <a:t>according to </a:t>
            </a:r>
            <a:r>
              <a:rPr lang="en-US" sz="1800" b="1" dirty="0"/>
              <a:t>2-WISE</a:t>
            </a:r>
            <a:r>
              <a:rPr lang="en-US" sz="1800" dirty="0"/>
              <a:t> and </a:t>
            </a:r>
            <a:r>
              <a:rPr lang="en-US" sz="1800" b="1" dirty="0"/>
              <a:t>FISCO (9.6V, 55.56mA and 640mW)</a:t>
            </a:r>
          </a:p>
          <a:p>
            <a:pPr marL="285750" indent="-285750">
              <a:buFont typeface="Arial" panose="020B0604020202020204" pitchFamily="34" charset="0"/>
              <a:buChar char="•"/>
            </a:pPr>
            <a:r>
              <a:rPr lang="en-GB" sz="1800" b="1" dirty="0"/>
              <a:t>PROFINET</a:t>
            </a:r>
            <a:r>
              <a:rPr lang="en-GB" sz="1800" dirty="0"/>
              <a:t> </a:t>
            </a:r>
            <a:r>
              <a:rPr lang="en-GB" sz="1800" b="1" dirty="0"/>
              <a:t>MRP</a:t>
            </a:r>
            <a:r>
              <a:rPr lang="en-GB" sz="1800" dirty="0"/>
              <a:t>, </a:t>
            </a:r>
            <a:r>
              <a:rPr lang="en-GB" sz="1800" b="1" dirty="0"/>
              <a:t>S2 redundancy </a:t>
            </a:r>
            <a:r>
              <a:rPr lang="en-GB" sz="1800" dirty="0"/>
              <a:t>and dynamic reconfiguration</a:t>
            </a:r>
          </a:p>
          <a:p>
            <a:pPr marL="285750" indent="-285750">
              <a:buFont typeface="Arial" panose="020B0604020202020204" pitchFamily="34" charset="0"/>
              <a:buChar char="•"/>
            </a:pPr>
            <a:r>
              <a:rPr lang="en-GB" sz="1800" dirty="0"/>
              <a:t>2 ports each for 1000BASE-T and SFP transceivers</a:t>
            </a:r>
          </a:p>
          <a:p>
            <a:pPr marL="285750" indent="-285750">
              <a:buFont typeface="Arial" panose="020B0604020202020204" pitchFamily="34" charset="0"/>
              <a:buChar char="•"/>
            </a:pPr>
            <a:r>
              <a:rPr lang="en-GB" sz="1800" dirty="0"/>
              <a:t>Redundant power input 20 VDC ... 60 VDC</a:t>
            </a:r>
          </a:p>
          <a:p>
            <a:pPr marL="285750" indent="-285750">
              <a:buFont typeface="Arial" panose="020B0604020202020204" pitchFamily="34" charset="0"/>
              <a:buChar char="•"/>
            </a:pPr>
            <a:r>
              <a:rPr lang="en-GB" sz="1800" b="1" dirty="0"/>
              <a:t>Installation in Zone 2</a:t>
            </a:r>
          </a:p>
          <a:p>
            <a:pPr marL="285750" indent="-285750">
              <a:buFont typeface="Arial" panose="020B0604020202020204" pitchFamily="34" charset="0"/>
              <a:buChar char="•"/>
            </a:pPr>
            <a:r>
              <a:rPr lang="en-GB" sz="1800" dirty="0"/>
              <a:t>Physical layer diagnostics at the spur</a:t>
            </a:r>
          </a:p>
          <a:p>
            <a:pPr marL="285750" indent="-285750">
              <a:buFont typeface="Arial" panose="020B0604020202020204" pitchFamily="34" charset="0"/>
              <a:buChar char="•"/>
            </a:pPr>
            <a:r>
              <a:rPr lang="en-GB" sz="1800" dirty="0"/>
              <a:t>Configuration and diagnosis with </a:t>
            </a:r>
            <a:r>
              <a:rPr lang="en-GB" sz="1800" b="1" dirty="0"/>
              <a:t>FDI</a:t>
            </a:r>
            <a:r>
              <a:rPr lang="en-GB" sz="1800" dirty="0"/>
              <a:t>, web interface, PROFINET device functions and </a:t>
            </a:r>
            <a:r>
              <a:rPr lang="en-GB" sz="1800" b="1" dirty="0"/>
              <a:t>SNMP</a:t>
            </a:r>
          </a:p>
          <a:p>
            <a:pPr marL="285750" indent="-285750">
              <a:buFont typeface="Arial" panose="020B0604020202020204" pitchFamily="34" charset="0"/>
              <a:buChar char="•"/>
            </a:pPr>
            <a:r>
              <a:rPr lang="en-GB" sz="1800" dirty="0"/>
              <a:t>Support of network security</a:t>
            </a:r>
          </a:p>
          <a:p>
            <a:pPr marL="285750" indent="-285750">
              <a:buFont typeface="Arial" panose="020B0604020202020204" pitchFamily="34" charset="0"/>
              <a:buChar char="•"/>
            </a:pPr>
            <a:r>
              <a:rPr lang="en-GB" sz="1800" dirty="0"/>
              <a:t>Support of Ethernet-APL and PROFIBUS PA instruments</a:t>
            </a:r>
          </a:p>
        </p:txBody>
      </p:sp>
      <p:pic>
        <p:nvPicPr>
          <p:cNvPr id="2" name="Picture 2" descr="Ethernet-APL Rail Field Switch ARS11-B2-IA08-2">
            <a:extLst>
              <a:ext uri="{FF2B5EF4-FFF2-40B4-BE49-F238E27FC236}">
                <a16:creationId xmlns:a16="http://schemas.microsoft.com/office/drawing/2014/main" id="{C4E00022-63A6-9A8A-1A39-DBCDD08D34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00468" y="686825"/>
            <a:ext cx="2432295" cy="267552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0760FC90-DA84-08E9-CFE9-07AB42DDDDEB}"/>
              </a:ext>
            </a:extLst>
          </p:cNvPr>
          <p:cNvPicPr>
            <a:picLocks noChangeAspect="1"/>
          </p:cNvPicPr>
          <p:nvPr/>
        </p:nvPicPr>
        <p:blipFill>
          <a:blip r:embed="rId3"/>
          <a:stretch>
            <a:fillRect/>
          </a:stretch>
        </p:blipFill>
        <p:spPr>
          <a:xfrm>
            <a:off x="6023487" y="3360787"/>
            <a:ext cx="2914650" cy="1381125"/>
          </a:xfrm>
          <a:prstGeom prst="rect">
            <a:avLst/>
          </a:prstGeom>
        </p:spPr>
      </p:pic>
      <p:sp>
        <p:nvSpPr>
          <p:cNvPr id="4" name="TextBox 3">
            <a:extLst>
              <a:ext uri="{FF2B5EF4-FFF2-40B4-BE49-F238E27FC236}">
                <a16:creationId xmlns:a16="http://schemas.microsoft.com/office/drawing/2014/main" id="{B3D64B12-8AA2-5F78-7A91-16D0E2ED05A8}"/>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41214219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7FAE50-AAA2-29DE-D3F4-4D463FC3B658}"/>
              </a:ext>
            </a:extLst>
          </p:cNvPr>
          <p:cNvSpPr>
            <a:spLocks noGrp="1"/>
          </p:cNvSpPr>
          <p:nvPr>
            <p:ph type="title"/>
          </p:nvPr>
        </p:nvSpPr>
        <p:spPr>
          <a:xfrm>
            <a:off x="1804035" y="177751"/>
            <a:ext cx="7886700" cy="413654"/>
          </a:xfrm>
        </p:spPr>
        <p:txBody>
          <a:bodyPr/>
          <a:lstStyle/>
          <a:p>
            <a:r>
              <a:rPr lang="en-US" sz="2400" dirty="0"/>
              <a:t>PROFINET S2 Redundancy</a:t>
            </a:r>
            <a:endParaRPr lang="en-GB" sz="2400" dirty="0"/>
          </a:p>
        </p:txBody>
      </p:sp>
      <p:pic>
        <p:nvPicPr>
          <p:cNvPr id="7" name="Picture 6">
            <a:extLst>
              <a:ext uri="{FF2B5EF4-FFF2-40B4-BE49-F238E27FC236}">
                <a16:creationId xmlns:a16="http://schemas.microsoft.com/office/drawing/2014/main" id="{DB11B154-1556-BDBC-F577-F1C572CECFBF}"/>
              </a:ext>
            </a:extLst>
          </p:cNvPr>
          <p:cNvPicPr>
            <a:picLocks noChangeAspect="1"/>
          </p:cNvPicPr>
          <p:nvPr/>
        </p:nvPicPr>
        <p:blipFill>
          <a:blip r:embed="rId2"/>
          <a:stretch>
            <a:fillRect/>
          </a:stretch>
        </p:blipFill>
        <p:spPr>
          <a:xfrm>
            <a:off x="548516" y="1629697"/>
            <a:ext cx="8046968" cy="2352271"/>
          </a:xfrm>
          <a:prstGeom prst="rect">
            <a:avLst/>
          </a:prstGeom>
        </p:spPr>
      </p:pic>
      <p:sp>
        <p:nvSpPr>
          <p:cNvPr id="2" name="TextBox 1">
            <a:extLst>
              <a:ext uri="{FF2B5EF4-FFF2-40B4-BE49-F238E27FC236}">
                <a16:creationId xmlns:a16="http://schemas.microsoft.com/office/drawing/2014/main" id="{49CD32F3-149A-358D-84D8-967C8EAED519}"/>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40699934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91315B-B409-3A7F-F7AA-96DAE52EB012}"/>
              </a:ext>
            </a:extLst>
          </p:cNvPr>
          <p:cNvSpPr>
            <a:spLocks noGrp="1"/>
          </p:cNvSpPr>
          <p:nvPr>
            <p:ph type="title"/>
          </p:nvPr>
        </p:nvSpPr>
        <p:spPr>
          <a:xfrm>
            <a:off x="1731371" y="201380"/>
            <a:ext cx="7886700" cy="413654"/>
          </a:xfrm>
        </p:spPr>
        <p:txBody>
          <a:bodyPr/>
          <a:lstStyle/>
          <a:p>
            <a:r>
              <a:rPr lang="en-US" sz="2400" dirty="0"/>
              <a:t>Typical Topologies (Symbols)</a:t>
            </a:r>
            <a:endParaRPr lang="en-GB" sz="2400" dirty="0"/>
          </a:p>
        </p:txBody>
      </p:sp>
      <p:pic>
        <p:nvPicPr>
          <p:cNvPr id="8" name="Picture 7">
            <a:extLst>
              <a:ext uri="{FF2B5EF4-FFF2-40B4-BE49-F238E27FC236}">
                <a16:creationId xmlns:a16="http://schemas.microsoft.com/office/drawing/2014/main" id="{938026D8-38E7-E4E0-492F-7F77F81F32A3}"/>
              </a:ext>
            </a:extLst>
          </p:cNvPr>
          <p:cNvPicPr>
            <a:picLocks noChangeAspect="1"/>
          </p:cNvPicPr>
          <p:nvPr/>
        </p:nvPicPr>
        <p:blipFill>
          <a:blip r:embed="rId2"/>
          <a:stretch>
            <a:fillRect/>
          </a:stretch>
        </p:blipFill>
        <p:spPr>
          <a:xfrm>
            <a:off x="720767" y="1501139"/>
            <a:ext cx="7613735" cy="2412803"/>
          </a:xfrm>
          <a:prstGeom prst="rect">
            <a:avLst/>
          </a:prstGeom>
        </p:spPr>
      </p:pic>
      <p:sp>
        <p:nvSpPr>
          <p:cNvPr id="9" name="TextBox 8">
            <a:extLst>
              <a:ext uri="{FF2B5EF4-FFF2-40B4-BE49-F238E27FC236}">
                <a16:creationId xmlns:a16="http://schemas.microsoft.com/office/drawing/2014/main" id="{70168929-9ED4-8B47-5AF8-58E0E9333D63}"/>
              </a:ext>
            </a:extLst>
          </p:cNvPr>
          <p:cNvSpPr txBox="1"/>
          <p:nvPr/>
        </p:nvSpPr>
        <p:spPr>
          <a:xfrm>
            <a:off x="6637020" y="4473683"/>
            <a:ext cx="2230098" cy="261610"/>
          </a:xfrm>
          <a:prstGeom prst="rect">
            <a:avLst/>
          </a:prstGeom>
          <a:noFill/>
        </p:spPr>
        <p:txBody>
          <a:bodyPr wrap="none" rtlCol="0">
            <a:spAutoFit/>
          </a:bodyPr>
          <a:lstStyle/>
          <a:p>
            <a:r>
              <a:rPr lang="en-GB" sz="1100" dirty="0"/>
              <a:t>Engineering Guideline Ethernet-APL</a:t>
            </a:r>
          </a:p>
        </p:txBody>
      </p:sp>
      <p:sp>
        <p:nvSpPr>
          <p:cNvPr id="2" name="TextBox 1">
            <a:extLst>
              <a:ext uri="{FF2B5EF4-FFF2-40B4-BE49-F238E27FC236}">
                <a16:creationId xmlns:a16="http://schemas.microsoft.com/office/drawing/2014/main" id="{67D854B5-136B-5C9E-0506-0BA274A52E21}"/>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35756608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3B0D8D-8264-BC89-E485-4BA2C49FEA48}"/>
              </a:ext>
            </a:extLst>
          </p:cNvPr>
          <p:cNvSpPr>
            <a:spLocks noGrp="1"/>
          </p:cNvSpPr>
          <p:nvPr>
            <p:ph type="title"/>
          </p:nvPr>
        </p:nvSpPr>
        <p:spPr>
          <a:xfrm>
            <a:off x="1762439" y="183191"/>
            <a:ext cx="7886700" cy="413654"/>
          </a:xfrm>
        </p:spPr>
        <p:txBody>
          <a:bodyPr/>
          <a:lstStyle/>
          <a:p>
            <a:r>
              <a:rPr lang="en-GB" sz="2400" dirty="0"/>
              <a:t>APL – A game-changer for the Process Industry</a:t>
            </a:r>
          </a:p>
        </p:txBody>
      </p:sp>
      <p:sp>
        <p:nvSpPr>
          <p:cNvPr id="6" name="Content Placeholder 1">
            <a:extLst>
              <a:ext uri="{FF2B5EF4-FFF2-40B4-BE49-F238E27FC236}">
                <a16:creationId xmlns:a16="http://schemas.microsoft.com/office/drawing/2014/main" id="{685143F7-2D3E-2317-CAA3-6C8B8638C287}"/>
              </a:ext>
            </a:extLst>
          </p:cNvPr>
          <p:cNvSpPr txBox="1">
            <a:spLocks/>
          </p:cNvSpPr>
          <p:nvPr/>
        </p:nvSpPr>
        <p:spPr>
          <a:xfrm>
            <a:off x="442899" y="1358937"/>
            <a:ext cx="5262890" cy="3263504"/>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043D5D"/>
              </a:buClr>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rgbClr val="043D5D"/>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rgbClr val="043D5D"/>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rgbClr val="043D5D"/>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rgbClr val="043D5D"/>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dirty="0"/>
              <a:t>For over 30 years, PROFIBUS PA has facilitated a fieldbus-based alternative to the long-established 4-20mA method of connecting field-based instrumentation to a centralised control system.</a:t>
            </a:r>
          </a:p>
          <a:p>
            <a:r>
              <a:rPr lang="en-US" sz="2000" dirty="0"/>
              <a:t>The Advanced Physical Layer, or APL, now provides a route of using Ethernet, instead of Profibus PA, to bring similar benefits to those achieved when migrating from PROFIBUS DP to PROFINET.</a:t>
            </a:r>
          </a:p>
          <a:p>
            <a:endParaRPr lang="en-US" dirty="0"/>
          </a:p>
          <a:p>
            <a:endParaRPr lang="en-US" dirty="0"/>
          </a:p>
          <a:p>
            <a:endParaRPr lang="en-GB" dirty="0"/>
          </a:p>
        </p:txBody>
      </p:sp>
      <p:pic>
        <p:nvPicPr>
          <p:cNvPr id="7" name="Picture 4" descr="Ethernet-APL Technical Specifications – FieldComm Group">
            <a:extLst>
              <a:ext uri="{FF2B5EF4-FFF2-40B4-BE49-F238E27FC236}">
                <a16:creationId xmlns:a16="http://schemas.microsoft.com/office/drawing/2014/main" id="{61F401D2-814B-6EAC-F4C7-7E67218BA21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91489" y="922020"/>
            <a:ext cx="3368040" cy="378714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5AC6E8C3-79CA-E0AC-044A-6A2C01860BB4}"/>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4253167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EB5362-D776-4357-06B2-3F130B293616}"/>
              </a:ext>
            </a:extLst>
          </p:cNvPr>
          <p:cNvSpPr>
            <a:spLocks noGrp="1"/>
          </p:cNvSpPr>
          <p:nvPr>
            <p:ph type="title"/>
          </p:nvPr>
        </p:nvSpPr>
        <p:spPr>
          <a:xfrm>
            <a:off x="1710590" y="168373"/>
            <a:ext cx="7886700" cy="413654"/>
          </a:xfrm>
        </p:spPr>
        <p:txBody>
          <a:bodyPr/>
          <a:lstStyle/>
          <a:p>
            <a:r>
              <a:rPr lang="en-US" sz="2400" dirty="0"/>
              <a:t>Typical Topologies (Ethernet Trunk)</a:t>
            </a:r>
            <a:endParaRPr lang="en-GB" sz="2400" dirty="0"/>
          </a:p>
        </p:txBody>
      </p:sp>
      <p:pic>
        <p:nvPicPr>
          <p:cNvPr id="7" name="Picture 6">
            <a:extLst>
              <a:ext uri="{FF2B5EF4-FFF2-40B4-BE49-F238E27FC236}">
                <a16:creationId xmlns:a16="http://schemas.microsoft.com/office/drawing/2014/main" id="{A2819E3C-5C7F-B9A1-7EE0-9BD619F36F17}"/>
              </a:ext>
            </a:extLst>
          </p:cNvPr>
          <p:cNvPicPr>
            <a:picLocks noChangeAspect="1"/>
          </p:cNvPicPr>
          <p:nvPr/>
        </p:nvPicPr>
        <p:blipFill>
          <a:blip r:embed="rId2"/>
          <a:stretch>
            <a:fillRect/>
          </a:stretch>
        </p:blipFill>
        <p:spPr>
          <a:xfrm>
            <a:off x="1469065" y="912498"/>
            <a:ext cx="6369702" cy="3648975"/>
          </a:xfrm>
          <a:prstGeom prst="rect">
            <a:avLst/>
          </a:prstGeom>
        </p:spPr>
      </p:pic>
      <p:sp>
        <p:nvSpPr>
          <p:cNvPr id="8" name="TextBox 7">
            <a:extLst>
              <a:ext uri="{FF2B5EF4-FFF2-40B4-BE49-F238E27FC236}">
                <a16:creationId xmlns:a16="http://schemas.microsoft.com/office/drawing/2014/main" id="{3E880B31-3895-DBF6-696E-D13667ACD468}"/>
              </a:ext>
            </a:extLst>
          </p:cNvPr>
          <p:cNvSpPr txBox="1"/>
          <p:nvPr/>
        </p:nvSpPr>
        <p:spPr>
          <a:xfrm>
            <a:off x="6637020" y="4473683"/>
            <a:ext cx="2230098" cy="261610"/>
          </a:xfrm>
          <a:prstGeom prst="rect">
            <a:avLst/>
          </a:prstGeom>
          <a:noFill/>
        </p:spPr>
        <p:txBody>
          <a:bodyPr wrap="none" rtlCol="0">
            <a:spAutoFit/>
          </a:bodyPr>
          <a:lstStyle/>
          <a:p>
            <a:r>
              <a:rPr lang="en-GB" sz="1100" dirty="0"/>
              <a:t>Engineering Guideline Ethernet-APL</a:t>
            </a:r>
          </a:p>
        </p:txBody>
      </p:sp>
      <p:sp>
        <p:nvSpPr>
          <p:cNvPr id="2" name="TextBox 1">
            <a:extLst>
              <a:ext uri="{FF2B5EF4-FFF2-40B4-BE49-F238E27FC236}">
                <a16:creationId xmlns:a16="http://schemas.microsoft.com/office/drawing/2014/main" id="{1AD8DFF2-F677-5575-35B1-9B6822BE7984}"/>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14444785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BDA267-F0B7-643B-497F-977C73699B8C}"/>
              </a:ext>
            </a:extLst>
          </p:cNvPr>
          <p:cNvSpPr>
            <a:spLocks noGrp="1"/>
          </p:cNvSpPr>
          <p:nvPr>
            <p:ph type="title"/>
          </p:nvPr>
        </p:nvSpPr>
        <p:spPr>
          <a:xfrm>
            <a:off x="1706434" y="149989"/>
            <a:ext cx="7886700" cy="413654"/>
          </a:xfrm>
        </p:spPr>
        <p:txBody>
          <a:bodyPr/>
          <a:lstStyle/>
          <a:p>
            <a:r>
              <a:rPr lang="en-US" sz="2400" dirty="0"/>
              <a:t>Typical Topologies (Unpowered Trunk) </a:t>
            </a:r>
            <a:endParaRPr lang="en-GB" sz="2400" dirty="0"/>
          </a:p>
        </p:txBody>
      </p:sp>
      <p:pic>
        <p:nvPicPr>
          <p:cNvPr id="8" name="Picture 7">
            <a:extLst>
              <a:ext uri="{FF2B5EF4-FFF2-40B4-BE49-F238E27FC236}">
                <a16:creationId xmlns:a16="http://schemas.microsoft.com/office/drawing/2014/main" id="{D9202661-E456-5203-8BB9-0CAE7A02FC4A}"/>
              </a:ext>
            </a:extLst>
          </p:cNvPr>
          <p:cNvPicPr>
            <a:picLocks noChangeAspect="1"/>
          </p:cNvPicPr>
          <p:nvPr/>
        </p:nvPicPr>
        <p:blipFill>
          <a:blip r:embed="rId2"/>
          <a:stretch>
            <a:fillRect/>
          </a:stretch>
        </p:blipFill>
        <p:spPr>
          <a:xfrm>
            <a:off x="959256" y="1191192"/>
            <a:ext cx="7158785" cy="3595492"/>
          </a:xfrm>
          <a:prstGeom prst="rect">
            <a:avLst/>
          </a:prstGeom>
        </p:spPr>
      </p:pic>
      <p:sp>
        <p:nvSpPr>
          <p:cNvPr id="9" name="TextBox 8">
            <a:extLst>
              <a:ext uri="{FF2B5EF4-FFF2-40B4-BE49-F238E27FC236}">
                <a16:creationId xmlns:a16="http://schemas.microsoft.com/office/drawing/2014/main" id="{5297CCF5-37DC-69F4-68BE-64D3BE22E614}"/>
              </a:ext>
            </a:extLst>
          </p:cNvPr>
          <p:cNvSpPr txBox="1"/>
          <p:nvPr/>
        </p:nvSpPr>
        <p:spPr>
          <a:xfrm>
            <a:off x="6637020" y="4473683"/>
            <a:ext cx="2230098" cy="261610"/>
          </a:xfrm>
          <a:prstGeom prst="rect">
            <a:avLst/>
          </a:prstGeom>
          <a:noFill/>
        </p:spPr>
        <p:txBody>
          <a:bodyPr wrap="none" rtlCol="0">
            <a:spAutoFit/>
          </a:bodyPr>
          <a:lstStyle/>
          <a:p>
            <a:r>
              <a:rPr lang="en-GB" sz="1100" dirty="0"/>
              <a:t>Engineering Guideline Ethernet-APL</a:t>
            </a:r>
          </a:p>
        </p:txBody>
      </p:sp>
      <p:sp>
        <p:nvSpPr>
          <p:cNvPr id="2" name="TextBox 1">
            <a:extLst>
              <a:ext uri="{FF2B5EF4-FFF2-40B4-BE49-F238E27FC236}">
                <a16:creationId xmlns:a16="http://schemas.microsoft.com/office/drawing/2014/main" id="{C3DCCCFF-9494-C8A6-6C95-3204A262D91D}"/>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40568904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BFCB48-C64F-C800-D59B-91ADEC89AFFA}"/>
              </a:ext>
            </a:extLst>
          </p:cNvPr>
          <p:cNvSpPr>
            <a:spLocks noGrp="1"/>
          </p:cNvSpPr>
          <p:nvPr>
            <p:ph type="title"/>
          </p:nvPr>
        </p:nvSpPr>
        <p:spPr>
          <a:xfrm>
            <a:off x="1745226" y="201380"/>
            <a:ext cx="7886700" cy="413654"/>
          </a:xfrm>
        </p:spPr>
        <p:txBody>
          <a:bodyPr/>
          <a:lstStyle/>
          <a:p>
            <a:r>
              <a:rPr lang="en-US" sz="2400" dirty="0"/>
              <a:t>Typical Topologies (Powered Trunk)</a:t>
            </a:r>
            <a:endParaRPr lang="en-GB" sz="2400" dirty="0"/>
          </a:p>
        </p:txBody>
      </p:sp>
      <p:pic>
        <p:nvPicPr>
          <p:cNvPr id="8" name="Picture 7">
            <a:extLst>
              <a:ext uri="{FF2B5EF4-FFF2-40B4-BE49-F238E27FC236}">
                <a16:creationId xmlns:a16="http://schemas.microsoft.com/office/drawing/2014/main" id="{DDA33D62-9FE5-C37A-EEC2-5C4B51FC974B}"/>
              </a:ext>
            </a:extLst>
          </p:cNvPr>
          <p:cNvPicPr>
            <a:picLocks noChangeAspect="1"/>
          </p:cNvPicPr>
          <p:nvPr/>
        </p:nvPicPr>
        <p:blipFill>
          <a:blip r:embed="rId2"/>
          <a:stretch>
            <a:fillRect/>
          </a:stretch>
        </p:blipFill>
        <p:spPr>
          <a:xfrm>
            <a:off x="881168" y="1000287"/>
            <a:ext cx="7381663" cy="3473396"/>
          </a:xfrm>
          <a:prstGeom prst="rect">
            <a:avLst/>
          </a:prstGeom>
        </p:spPr>
      </p:pic>
      <p:sp>
        <p:nvSpPr>
          <p:cNvPr id="9" name="TextBox 8">
            <a:extLst>
              <a:ext uri="{FF2B5EF4-FFF2-40B4-BE49-F238E27FC236}">
                <a16:creationId xmlns:a16="http://schemas.microsoft.com/office/drawing/2014/main" id="{775D5CF9-1716-6359-D497-9AB93092210A}"/>
              </a:ext>
            </a:extLst>
          </p:cNvPr>
          <p:cNvSpPr txBox="1"/>
          <p:nvPr/>
        </p:nvSpPr>
        <p:spPr>
          <a:xfrm>
            <a:off x="6637020" y="4473683"/>
            <a:ext cx="2230098" cy="261610"/>
          </a:xfrm>
          <a:prstGeom prst="rect">
            <a:avLst/>
          </a:prstGeom>
          <a:noFill/>
        </p:spPr>
        <p:txBody>
          <a:bodyPr wrap="none" rtlCol="0">
            <a:spAutoFit/>
          </a:bodyPr>
          <a:lstStyle/>
          <a:p>
            <a:r>
              <a:rPr lang="en-GB" sz="1100" dirty="0"/>
              <a:t>Engineering Guideline Ethernet-APL</a:t>
            </a:r>
          </a:p>
        </p:txBody>
      </p:sp>
      <p:sp>
        <p:nvSpPr>
          <p:cNvPr id="2" name="TextBox 1">
            <a:extLst>
              <a:ext uri="{FF2B5EF4-FFF2-40B4-BE49-F238E27FC236}">
                <a16:creationId xmlns:a16="http://schemas.microsoft.com/office/drawing/2014/main" id="{281B9610-E763-FAB1-9322-0CB8C66F4115}"/>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32332994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7F5715-CDA3-530E-9FF4-4D2A8AC1339D}"/>
              </a:ext>
            </a:extLst>
          </p:cNvPr>
          <p:cNvSpPr>
            <a:spLocks noGrp="1"/>
          </p:cNvSpPr>
          <p:nvPr>
            <p:ph idx="1"/>
          </p:nvPr>
        </p:nvSpPr>
        <p:spPr>
          <a:xfrm>
            <a:off x="595299" y="1069141"/>
            <a:ext cx="7886700" cy="3263504"/>
          </a:xfrm>
        </p:spPr>
        <p:txBody>
          <a:bodyPr>
            <a:normAutofit/>
          </a:bodyPr>
          <a:lstStyle/>
          <a:p>
            <a:r>
              <a:rPr lang="en-US" sz="2000" dirty="0"/>
              <a:t>APL uses a concept called 2-WISE (2-Wire Intrinsically Safe Ethernet).</a:t>
            </a:r>
          </a:p>
          <a:p>
            <a:r>
              <a:rPr lang="en-US" sz="2000" b="0" i="0" u="none" strike="noStrike" baseline="0" dirty="0">
                <a:solidFill>
                  <a:srgbClr val="000000"/>
                </a:solidFill>
              </a:rPr>
              <a:t>All used equipment must be certified according to 2-WISE. </a:t>
            </a:r>
          </a:p>
          <a:p>
            <a:r>
              <a:rPr lang="en-US" sz="2000" b="0" i="0" u="none" strike="noStrike" baseline="0" dirty="0">
                <a:solidFill>
                  <a:srgbClr val="000000"/>
                </a:solidFill>
              </a:rPr>
              <a:t>The cable used to connect switch, field device and auxiliary device to a spur may be up to 200 m and must follow the following specification:</a:t>
            </a:r>
            <a:endParaRPr lang="en-US" sz="2000" dirty="0"/>
          </a:p>
        </p:txBody>
      </p:sp>
      <p:sp>
        <p:nvSpPr>
          <p:cNvPr id="3" name="Title 2">
            <a:extLst>
              <a:ext uri="{FF2B5EF4-FFF2-40B4-BE49-F238E27FC236}">
                <a16:creationId xmlns:a16="http://schemas.microsoft.com/office/drawing/2014/main" id="{9384E8D7-449A-9F1D-801E-5C14A9D40C2C}"/>
              </a:ext>
            </a:extLst>
          </p:cNvPr>
          <p:cNvSpPr>
            <a:spLocks noGrp="1"/>
          </p:cNvSpPr>
          <p:nvPr>
            <p:ph type="title"/>
          </p:nvPr>
        </p:nvSpPr>
        <p:spPr>
          <a:xfrm>
            <a:off x="1804035" y="200347"/>
            <a:ext cx="7886700" cy="413654"/>
          </a:xfrm>
        </p:spPr>
        <p:txBody>
          <a:bodyPr/>
          <a:lstStyle/>
          <a:p>
            <a:r>
              <a:rPr lang="en-US" sz="2400" dirty="0"/>
              <a:t>APL and Hazardous Areas</a:t>
            </a:r>
            <a:endParaRPr lang="en-GB" sz="2400" dirty="0"/>
          </a:p>
        </p:txBody>
      </p:sp>
      <p:pic>
        <p:nvPicPr>
          <p:cNvPr id="7" name="Picture 6">
            <a:extLst>
              <a:ext uri="{FF2B5EF4-FFF2-40B4-BE49-F238E27FC236}">
                <a16:creationId xmlns:a16="http://schemas.microsoft.com/office/drawing/2014/main" id="{756BE115-4F84-1711-4D4C-8398B0557E03}"/>
              </a:ext>
            </a:extLst>
          </p:cNvPr>
          <p:cNvPicPr>
            <a:picLocks noChangeAspect="1"/>
          </p:cNvPicPr>
          <p:nvPr/>
        </p:nvPicPr>
        <p:blipFill>
          <a:blip r:embed="rId2"/>
          <a:stretch>
            <a:fillRect/>
          </a:stretch>
        </p:blipFill>
        <p:spPr>
          <a:xfrm>
            <a:off x="1672089" y="2825584"/>
            <a:ext cx="5733120" cy="1390343"/>
          </a:xfrm>
          <a:prstGeom prst="rect">
            <a:avLst/>
          </a:prstGeom>
        </p:spPr>
      </p:pic>
      <p:sp>
        <p:nvSpPr>
          <p:cNvPr id="6" name="TextBox 5">
            <a:extLst>
              <a:ext uri="{FF2B5EF4-FFF2-40B4-BE49-F238E27FC236}">
                <a16:creationId xmlns:a16="http://schemas.microsoft.com/office/drawing/2014/main" id="{6272FA36-8252-404F-3A7F-61F30845A6BE}"/>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2143347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1B13B5-C349-8B8E-B4E0-BE7162463617}"/>
              </a:ext>
            </a:extLst>
          </p:cNvPr>
          <p:cNvSpPr>
            <a:spLocks noGrp="1"/>
          </p:cNvSpPr>
          <p:nvPr>
            <p:ph type="title"/>
          </p:nvPr>
        </p:nvSpPr>
        <p:spPr>
          <a:xfrm>
            <a:off x="1804035" y="212387"/>
            <a:ext cx="7886700" cy="413654"/>
          </a:xfrm>
        </p:spPr>
        <p:txBody>
          <a:bodyPr/>
          <a:lstStyle/>
          <a:p>
            <a:r>
              <a:rPr lang="en-US" sz="2400" i="0" u="none" strike="noStrike" baseline="0" dirty="0">
                <a:solidFill>
                  <a:schemeClr val="tx1"/>
                </a:solidFill>
              </a:rPr>
              <a:t>Spur topology with field switches </a:t>
            </a:r>
            <a:br>
              <a:rPr lang="en-US" sz="2400" i="0" u="none" strike="noStrike" baseline="0" dirty="0">
                <a:solidFill>
                  <a:schemeClr val="tx1"/>
                </a:solidFill>
              </a:rPr>
            </a:br>
            <a:r>
              <a:rPr lang="en-US" sz="2400" i="0" u="none" strike="noStrike" baseline="0" dirty="0">
                <a:solidFill>
                  <a:schemeClr val="tx1"/>
                </a:solidFill>
              </a:rPr>
              <a:t>installed in Zone 2 </a:t>
            </a:r>
            <a:endParaRPr lang="en-GB" sz="2400" dirty="0">
              <a:solidFill>
                <a:schemeClr val="tx1"/>
              </a:solidFill>
            </a:endParaRPr>
          </a:p>
        </p:txBody>
      </p:sp>
      <p:pic>
        <p:nvPicPr>
          <p:cNvPr id="7" name="Picture 6">
            <a:extLst>
              <a:ext uri="{FF2B5EF4-FFF2-40B4-BE49-F238E27FC236}">
                <a16:creationId xmlns:a16="http://schemas.microsoft.com/office/drawing/2014/main" id="{3DD2A553-9F4F-CA70-5300-9F55259F920D}"/>
              </a:ext>
            </a:extLst>
          </p:cNvPr>
          <p:cNvPicPr>
            <a:picLocks noChangeAspect="1"/>
          </p:cNvPicPr>
          <p:nvPr/>
        </p:nvPicPr>
        <p:blipFill>
          <a:blip r:embed="rId2"/>
          <a:stretch>
            <a:fillRect/>
          </a:stretch>
        </p:blipFill>
        <p:spPr>
          <a:xfrm>
            <a:off x="917916" y="966019"/>
            <a:ext cx="7308167" cy="3343412"/>
          </a:xfrm>
          <a:prstGeom prst="rect">
            <a:avLst/>
          </a:prstGeom>
        </p:spPr>
      </p:pic>
      <p:sp>
        <p:nvSpPr>
          <p:cNvPr id="2" name="TextBox 1">
            <a:extLst>
              <a:ext uri="{FF2B5EF4-FFF2-40B4-BE49-F238E27FC236}">
                <a16:creationId xmlns:a16="http://schemas.microsoft.com/office/drawing/2014/main" id="{A614C6FB-D98B-8CFB-EBD8-8DFDF241BAA6}"/>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
        <p:nvSpPr>
          <p:cNvPr id="6" name="TextBox 5">
            <a:extLst>
              <a:ext uri="{FF2B5EF4-FFF2-40B4-BE49-F238E27FC236}">
                <a16:creationId xmlns:a16="http://schemas.microsoft.com/office/drawing/2014/main" id="{B743FCCA-A617-0994-57AA-D2072AF09124}"/>
              </a:ext>
            </a:extLst>
          </p:cNvPr>
          <p:cNvSpPr txBox="1"/>
          <p:nvPr/>
        </p:nvSpPr>
        <p:spPr>
          <a:xfrm>
            <a:off x="6637020" y="4473683"/>
            <a:ext cx="2230098" cy="261610"/>
          </a:xfrm>
          <a:prstGeom prst="rect">
            <a:avLst/>
          </a:prstGeom>
          <a:noFill/>
        </p:spPr>
        <p:txBody>
          <a:bodyPr wrap="none" rtlCol="0">
            <a:spAutoFit/>
          </a:bodyPr>
          <a:lstStyle/>
          <a:p>
            <a:r>
              <a:rPr lang="en-GB" sz="1100" dirty="0"/>
              <a:t>Engineering Guideline Ethernet-APL</a:t>
            </a:r>
          </a:p>
        </p:txBody>
      </p:sp>
    </p:spTree>
    <p:extLst>
      <p:ext uri="{BB962C8B-B14F-4D97-AF65-F5344CB8AC3E}">
        <p14:creationId xmlns:p14="http://schemas.microsoft.com/office/powerpoint/2010/main" val="21514908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01783A-F519-5238-9814-69FE6C133F30}"/>
              </a:ext>
            </a:extLst>
          </p:cNvPr>
          <p:cNvSpPr>
            <a:spLocks noGrp="1"/>
          </p:cNvSpPr>
          <p:nvPr>
            <p:ph type="title"/>
          </p:nvPr>
        </p:nvSpPr>
        <p:spPr>
          <a:xfrm>
            <a:off x="1804035" y="203753"/>
            <a:ext cx="7886700" cy="413654"/>
          </a:xfrm>
        </p:spPr>
        <p:txBody>
          <a:bodyPr/>
          <a:lstStyle/>
          <a:p>
            <a:r>
              <a:rPr lang="en-US" sz="2400" i="0" u="none" strike="noStrike" baseline="0" dirty="0">
                <a:solidFill>
                  <a:schemeClr val="tx1"/>
                </a:solidFill>
              </a:rPr>
              <a:t>Spur topology with field switches </a:t>
            </a:r>
            <a:br>
              <a:rPr lang="en-US" sz="2400" i="0" u="none" strike="noStrike" baseline="0" dirty="0">
                <a:solidFill>
                  <a:schemeClr val="tx1"/>
                </a:solidFill>
              </a:rPr>
            </a:br>
            <a:r>
              <a:rPr lang="en-US" sz="2400" i="0" u="none" strike="noStrike" baseline="0" dirty="0">
                <a:solidFill>
                  <a:schemeClr val="tx1"/>
                </a:solidFill>
              </a:rPr>
              <a:t>installed in Zone 1 </a:t>
            </a:r>
            <a:endParaRPr lang="en-GB" sz="2400" dirty="0">
              <a:solidFill>
                <a:schemeClr val="tx1"/>
              </a:solidFill>
            </a:endParaRPr>
          </a:p>
        </p:txBody>
      </p:sp>
      <p:pic>
        <p:nvPicPr>
          <p:cNvPr id="7" name="Picture 6">
            <a:extLst>
              <a:ext uri="{FF2B5EF4-FFF2-40B4-BE49-F238E27FC236}">
                <a16:creationId xmlns:a16="http://schemas.microsoft.com/office/drawing/2014/main" id="{0BB1740B-9D91-FD31-0B16-0C455BE9BF9A}"/>
              </a:ext>
            </a:extLst>
          </p:cNvPr>
          <p:cNvPicPr>
            <a:picLocks noChangeAspect="1"/>
          </p:cNvPicPr>
          <p:nvPr/>
        </p:nvPicPr>
        <p:blipFill>
          <a:blip r:embed="rId2"/>
          <a:stretch>
            <a:fillRect/>
          </a:stretch>
        </p:blipFill>
        <p:spPr>
          <a:xfrm>
            <a:off x="1238865" y="1205060"/>
            <a:ext cx="6666270" cy="2995072"/>
          </a:xfrm>
          <a:prstGeom prst="rect">
            <a:avLst/>
          </a:prstGeom>
        </p:spPr>
      </p:pic>
      <p:sp>
        <p:nvSpPr>
          <p:cNvPr id="2" name="TextBox 1">
            <a:extLst>
              <a:ext uri="{FF2B5EF4-FFF2-40B4-BE49-F238E27FC236}">
                <a16:creationId xmlns:a16="http://schemas.microsoft.com/office/drawing/2014/main" id="{E28D745E-42D8-8411-1DBB-09A6CE5DFBA4}"/>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
        <p:nvSpPr>
          <p:cNvPr id="6" name="TextBox 5">
            <a:extLst>
              <a:ext uri="{FF2B5EF4-FFF2-40B4-BE49-F238E27FC236}">
                <a16:creationId xmlns:a16="http://schemas.microsoft.com/office/drawing/2014/main" id="{1F86E453-D84F-A26C-3BE6-9F3E6A5A9D4E}"/>
              </a:ext>
            </a:extLst>
          </p:cNvPr>
          <p:cNvSpPr txBox="1"/>
          <p:nvPr/>
        </p:nvSpPr>
        <p:spPr>
          <a:xfrm>
            <a:off x="6637020" y="4473683"/>
            <a:ext cx="2230098" cy="261610"/>
          </a:xfrm>
          <a:prstGeom prst="rect">
            <a:avLst/>
          </a:prstGeom>
          <a:noFill/>
        </p:spPr>
        <p:txBody>
          <a:bodyPr wrap="none" rtlCol="0">
            <a:spAutoFit/>
          </a:bodyPr>
          <a:lstStyle/>
          <a:p>
            <a:r>
              <a:rPr lang="en-GB" sz="1100" dirty="0"/>
              <a:t>Engineering Guideline Ethernet-APL</a:t>
            </a:r>
          </a:p>
        </p:txBody>
      </p:sp>
    </p:spTree>
    <p:extLst>
      <p:ext uri="{BB962C8B-B14F-4D97-AF65-F5344CB8AC3E}">
        <p14:creationId xmlns:p14="http://schemas.microsoft.com/office/powerpoint/2010/main" val="40576603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DA3142A-645A-2219-E3F9-3D0D36A83373}"/>
              </a:ext>
            </a:extLst>
          </p:cNvPr>
          <p:cNvSpPr>
            <a:spLocks noGrp="1"/>
          </p:cNvSpPr>
          <p:nvPr>
            <p:ph idx="1"/>
          </p:nvPr>
        </p:nvSpPr>
        <p:spPr>
          <a:xfrm>
            <a:off x="477367" y="1068234"/>
            <a:ext cx="7886700" cy="3263504"/>
          </a:xfrm>
        </p:spPr>
        <p:txBody>
          <a:bodyPr>
            <a:noAutofit/>
          </a:bodyPr>
          <a:lstStyle/>
          <a:p>
            <a:r>
              <a:rPr lang="en-US" sz="2000" dirty="0"/>
              <a:t>The main function of an APL device is to accurately measure and relay its process value, e.g. temperature, pressure, flow etc.</a:t>
            </a:r>
          </a:p>
          <a:p>
            <a:r>
              <a:rPr lang="en-US" sz="2000" dirty="0"/>
              <a:t>These will used by the control system to control the various process using PID controllers.</a:t>
            </a:r>
          </a:p>
          <a:p>
            <a:r>
              <a:rPr lang="en-US" sz="2000" dirty="0"/>
              <a:t>PID control is a time-critical functionality and it is vital that the process variables are read on a regular / cyclic basis for the individual P, I and D terms to work correctly</a:t>
            </a:r>
          </a:p>
          <a:p>
            <a:r>
              <a:rPr lang="en-US" sz="2000" dirty="0"/>
              <a:t>The actual cycle period is a function of the natural speed of the process.</a:t>
            </a:r>
          </a:p>
          <a:p>
            <a:r>
              <a:rPr lang="en-US" sz="2000" dirty="0"/>
              <a:t>The main benefit of APL is the facilitation of access to large amounts of data that do not need to be read as often, this is called acyclic data.</a:t>
            </a:r>
            <a:endParaRPr lang="en-GB" sz="2000" dirty="0"/>
          </a:p>
        </p:txBody>
      </p:sp>
      <p:sp>
        <p:nvSpPr>
          <p:cNvPr id="3" name="Title 2">
            <a:extLst>
              <a:ext uri="{FF2B5EF4-FFF2-40B4-BE49-F238E27FC236}">
                <a16:creationId xmlns:a16="http://schemas.microsoft.com/office/drawing/2014/main" id="{E391D6F5-F9F1-1539-CCAA-B79976349660}"/>
              </a:ext>
            </a:extLst>
          </p:cNvPr>
          <p:cNvSpPr>
            <a:spLocks noGrp="1"/>
          </p:cNvSpPr>
          <p:nvPr>
            <p:ph type="title"/>
          </p:nvPr>
        </p:nvSpPr>
        <p:spPr>
          <a:xfrm>
            <a:off x="1804035" y="198533"/>
            <a:ext cx="7886700" cy="413654"/>
          </a:xfrm>
        </p:spPr>
        <p:txBody>
          <a:bodyPr/>
          <a:lstStyle/>
          <a:p>
            <a:r>
              <a:rPr lang="en-US" sz="2400" dirty="0">
                <a:solidFill>
                  <a:schemeClr val="tx1"/>
                </a:solidFill>
              </a:rPr>
              <a:t>APL – Cyclic and Acyclic Data</a:t>
            </a:r>
            <a:endParaRPr lang="en-GB" sz="2400" dirty="0">
              <a:solidFill>
                <a:schemeClr val="tx1"/>
              </a:solidFill>
            </a:endParaRPr>
          </a:p>
        </p:txBody>
      </p:sp>
      <p:sp>
        <p:nvSpPr>
          <p:cNvPr id="6" name="TextBox 5">
            <a:extLst>
              <a:ext uri="{FF2B5EF4-FFF2-40B4-BE49-F238E27FC236}">
                <a16:creationId xmlns:a16="http://schemas.microsoft.com/office/drawing/2014/main" id="{F784CEBD-3521-30F6-2DD7-1D4BE05A4FC8}"/>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2519976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5987E50-E553-2106-B5F9-1BB8D61D9FBC}"/>
              </a:ext>
            </a:extLst>
          </p:cNvPr>
          <p:cNvPicPr>
            <a:picLocks noChangeAspect="1"/>
          </p:cNvPicPr>
          <p:nvPr/>
        </p:nvPicPr>
        <p:blipFill>
          <a:blip r:embed="rId2"/>
          <a:stretch>
            <a:fillRect/>
          </a:stretch>
        </p:blipFill>
        <p:spPr>
          <a:xfrm>
            <a:off x="7066276" y="1991032"/>
            <a:ext cx="2077724" cy="1120877"/>
          </a:xfrm>
          <a:prstGeom prst="rect">
            <a:avLst/>
          </a:prstGeom>
        </p:spPr>
      </p:pic>
      <p:sp>
        <p:nvSpPr>
          <p:cNvPr id="2" name="Content Placeholder 1">
            <a:extLst>
              <a:ext uri="{FF2B5EF4-FFF2-40B4-BE49-F238E27FC236}">
                <a16:creationId xmlns:a16="http://schemas.microsoft.com/office/drawing/2014/main" id="{DDCD26A8-BAE1-BEE4-9875-9407834E1D3A}"/>
              </a:ext>
            </a:extLst>
          </p:cNvPr>
          <p:cNvSpPr>
            <a:spLocks noGrp="1"/>
          </p:cNvSpPr>
          <p:nvPr>
            <p:ph idx="1"/>
          </p:nvPr>
        </p:nvSpPr>
        <p:spPr>
          <a:xfrm>
            <a:off x="173248" y="989497"/>
            <a:ext cx="6893028" cy="1691072"/>
          </a:xfrm>
        </p:spPr>
        <p:txBody>
          <a:bodyPr>
            <a:noAutofit/>
          </a:bodyPr>
          <a:lstStyle/>
          <a:p>
            <a:r>
              <a:rPr lang="en-US" sz="2000" dirty="0"/>
              <a:t>FDI or Field Device Integration facilitates acyclic access to data in each process device.</a:t>
            </a:r>
          </a:p>
          <a:p>
            <a:r>
              <a:rPr lang="en-US" sz="2000" dirty="0"/>
              <a:t>It effectively combines the benefits of its predecessors </a:t>
            </a:r>
            <a:r>
              <a:rPr lang="en-US" sz="2000" b="0" i="0" dirty="0">
                <a:solidFill>
                  <a:srgbClr val="232323"/>
                </a:solidFill>
                <a:effectLst/>
              </a:rPr>
              <a:t>Device Type Manager/Field Device Technology (DTM/FDT) and E</a:t>
            </a:r>
            <a:r>
              <a:rPr lang="fr-FR" sz="2000" b="0" i="0" dirty="0">
                <a:solidFill>
                  <a:srgbClr val="232323"/>
                </a:solidFill>
                <a:effectLst/>
              </a:rPr>
              <a:t>lectronic Device Description Language (EDDL)</a:t>
            </a:r>
            <a:endParaRPr lang="en-US" sz="2000" dirty="0"/>
          </a:p>
          <a:p>
            <a:r>
              <a:rPr lang="en-US" sz="2000" b="0" i="0" dirty="0">
                <a:effectLst/>
              </a:rPr>
              <a:t>FDI was jointly developed by leading process industry foundations including FieldComm Group, FDT Group, PROFIBUS &amp; PROFINET International, and the OPC Foundation. </a:t>
            </a:r>
          </a:p>
          <a:p>
            <a:r>
              <a:rPr lang="en-US" sz="2000" b="0" i="0" dirty="0">
                <a:effectLst/>
              </a:rPr>
              <a:t>Major supplier companies including ABB, Emerson Process Management, Endress+Hauser, Honeywell, Schneider, Siemens, and Yokogawa supported the project with significant resources.</a:t>
            </a:r>
            <a:endParaRPr lang="en-GB" sz="2000" dirty="0"/>
          </a:p>
        </p:txBody>
      </p:sp>
      <p:sp>
        <p:nvSpPr>
          <p:cNvPr id="3" name="Title 2">
            <a:extLst>
              <a:ext uri="{FF2B5EF4-FFF2-40B4-BE49-F238E27FC236}">
                <a16:creationId xmlns:a16="http://schemas.microsoft.com/office/drawing/2014/main" id="{950712F4-13CF-EDCA-3C11-D5151F47AF7D}"/>
              </a:ext>
            </a:extLst>
          </p:cNvPr>
          <p:cNvSpPr>
            <a:spLocks noGrp="1"/>
          </p:cNvSpPr>
          <p:nvPr>
            <p:ph type="title"/>
          </p:nvPr>
        </p:nvSpPr>
        <p:spPr>
          <a:xfrm>
            <a:off x="1734763" y="159700"/>
            <a:ext cx="7886700" cy="413654"/>
          </a:xfrm>
        </p:spPr>
        <p:txBody>
          <a:bodyPr/>
          <a:lstStyle/>
          <a:p>
            <a:r>
              <a:rPr lang="en-US" sz="2400" dirty="0">
                <a:solidFill>
                  <a:schemeClr val="tx1"/>
                </a:solidFill>
              </a:rPr>
              <a:t>FDI and Access to Acyclic Data</a:t>
            </a:r>
            <a:endParaRPr lang="en-GB" sz="2400" dirty="0">
              <a:solidFill>
                <a:schemeClr val="tx1"/>
              </a:solidFill>
            </a:endParaRPr>
          </a:p>
        </p:txBody>
      </p:sp>
      <p:sp>
        <p:nvSpPr>
          <p:cNvPr id="6" name="TextBox 5">
            <a:extLst>
              <a:ext uri="{FF2B5EF4-FFF2-40B4-BE49-F238E27FC236}">
                <a16:creationId xmlns:a16="http://schemas.microsoft.com/office/drawing/2014/main" id="{96C3963A-D9D8-86F5-68D2-728F1D1847C6}"/>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3234131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991286-DABE-6D05-D014-5BED12686FBD}"/>
              </a:ext>
            </a:extLst>
          </p:cNvPr>
          <p:cNvSpPr>
            <a:spLocks noGrp="1"/>
          </p:cNvSpPr>
          <p:nvPr>
            <p:ph type="title"/>
          </p:nvPr>
        </p:nvSpPr>
        <p:spPr>
          <a:xfrm>
            <a:off x="1804035" y="188745"/>
            <a:ext cx="7886700" cy="413654"/>
          </a:xfrm>
        </p:spPr>
        <p:txBody>
          <a:bodyPr/>
          <a:lstStyle/>
          <a:p>
            <a:r>
              <a:rPr lang="en-US" sz="2400" dirty="0">
                <a:solidFill>
                  <a:schemeClr val="tx1"/>
                </a:solidFill>
              </a:rPr>
              <a:t>FDI Data Flow</a:t>
            </a:r>
            <a:endParaRPr lang="en-GB" sz="2400" dirty="0">
              <a:solidFill>
                <a:schemeClr val="tx1"/>
              </a:solidFill>
            </a:endParaRPr>
          </a:p>
        </p:txBody>
      </p:sp>
      <p:pic>
        <p:nvPicPr>
          <p:cNvPr id="9" name="Picture 8">
            <a:extLst>
              <a:ext uri="{FF2B5EF4-FFF2-40B4-BE49-F238E27FC236}">
                <a16:creationId xmlns:a16="http://schemas.microsoft.com/office/drawing/2014/main" id="{8A33F1D2-E64A-932E-EB00-FD3DE6C1F979}"/>
              </a:ext>
            </a:extLst>
          </p:cNvPr>
          <p:cNvPicPr>
            <a:picLocks noChangeAspect="1"/>
          </p:cNvPicPr>
          <p:nvPr/>
        </p:nvPicPr>
        <p:blipFill>
          <a:blip r:embed="rId2"/>
          <a:stretch>
            <a:fillRect/>
          </a:stretch>
        </p:blipFill>
        <p:spPr>
          <a:xfrm>
            <a:off x="679575" y="987442"/>
            <a:ext cx="7542074" cy="3208473"/>
          </a:xfrm>
          <a:prstGeom prst="rect">
            <a:avLst/>
          </a:prstGeom>
        </p:spPr>
      </p:pic>
      <p:pic>
        <p:nvPicPr>
          <p:cNvPr id="10" name="Picture 9">
            <a:extLst>
              <a:ext uri="{FF2B5EF4-FFF2-40B4-BE49-F238E27FC236}">
                <a16:creationId xmlns:a16="http://schemas.microsoft.com/office/drawing/2014/main" id="{EFEEA32B-F552-C838-DFBD-60E2BAA6BFA5}"/>
              </a:ext>
            </a:extLst>
          </p:cNvPr>
          <p:cNvPicPr>
            <a:picLocks noChangeAspect="1"/>
          </p:cNvPicPr>
          <p:nvPr/>
        </p:nvPicPr>
        <p:blipFill>
          <a:blip r:embed="rId3"/>
          <a:stretch>
            <a:fillRect/>
          </a:stretch>
        </p:blipFill>
        <p:spPr>
          <a:xfrm>
            <a:off x="6660982" y="3252019"/>
            <a:ext cx="2077724" cy="1120877"/>
          </a:xfrm>
          <a:prstGeom prst="rect">
            <a:avLst/>
          </a:prstGeom>
        </p:spPr>
      </p:pic>
      <p:sp>
        <p:nvSpPr>
          <p:cNvPr id="2" name="TextBox 1">
            <a:extLst>
              <a:ext uri="{FF2B5EF4-FFF2-40B4-BE49-F238E27FC236}">
                <a16:creationId xmlns:a16="http://schemas.microsoft.com/office/drawing/2014/main" id="{CB0AA62A-825F-E669-CC29-70E4D1D0D726}"/>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15220591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C3A82F-CD7F-8242-8607-AFE2ADDFE439}"/>
              </a:ext>
            </a:extLst>
          </p:cNvPr>
          <p:cNvSpPr>
            <a:spLocks noGrp="1"/>
          </p:cNvSpPr>
          <p:nvPr>
            <p:ph idx="1"/>
          </p:nvPr>
        </p:nvSpPr>
        <p:spPr>
          <a:xfrm>
            <a:off x="1482910" y="1898317"/>
            <a:ext cx="5956505" cy="673433"/>
          </a:xfrm>
        </p:spPr>
        <p:txBody>
          <a:bodyPr>
            <a:noAutofit/>
          </a:bodyPr>
          <a:lstStyle/>
          <a:p>
            <a:pPr marL="0" indent="0" algn="ctr">
              <a:buNone/>
            </a:pPr>
            <a:r>
              <a:rPr lang="en-US" sz="2400" b="1" dirty="0"/>
              <a:t>Peter Thomas</a:t>
            </a:r>
          </a:p>
          <a:p>
            <a:pPr marL="0" indent="0" algn="ctr">
              <a:buNone/>
            </a:pPr>
            <a:r>
              <a:rPr lang="en-US" sz="2400" b="1" dirty="0"/>
              <a:t>HMS Industrial Networks Ltd</a:t>
            </a:r>
          </a:p>
          <a:p>
            <a:pPr marL="0" indent="0" algn="ctr">
              <a:buNone/>
            </a:pPr>
            <a:r>
              <a:rPr lang="en-US" sz="2400" dirty="0"/>
              <a:t>PI Training Manager (MU North)</a:t>
            </a:r>
          </a:p>
          <a:p>
            <a:pPr marL="0" indent="0" algn="ctr">
              <a:buNone/>
            </a:pPr>
            <a:r>
              <a:rPr lang="en-GB" sz="2400" dirty="0"/>
              <a:t>peth@hms-networks.com</a:t>
            </a:r>
          </a:p>
        </p:txBody>
      </p:sp>
      <p:sp>
        <p:nvSpPr>
          <p:cNvPr id="3" name="Title 2">
            <a:extLst>
              <a:ext uri="{FF2B5EF4-FFF2-40B4-BE49-F238E27FC236}">
                <a16:creationId xmlns:a16="http://schemas.microsoft.com/office/drawing/2014/main" id="{AF7C5DA9-F59B-6336-E3C2-A12D968F10F6}"/>
              </a:ext>
            </a:extLst>
          </p:cNvPr>
          <p:cNvSpPr>
            <a:spLocks noGrp="1"/>
          </p:cNvSpPr>
          <p:nvPr>
            <p:ph type="title"/>
          </p:nvPr>
        </p:nvSpPr>
        <p:spPr>
          <a:xfrm>
            <a:off x="1804035" y="205460"/>
            <a:ext cx="7886700" cy="413654"/>
          </a:xfrm>
        </p:spPr>
        <p:txBody>
          <a:bodyPr/>
          <a:lstStyle/>
          <a:p>
            <a:r>
              <a:rPr lang="en-US" sz="2400" dirty="0">
                <a:solidFill>
                  <a:schemeClr val="tx1"/>
                </a:solidFill>
              </a:rPr>
              <a:t>Questions</a:t>
            </a:r>
            <a:endParaRPr lang="en-GB" sz="2400" dirty="0">
              <a:solidFill>
                <a:schemeClr val="tx1"/>
              </a:solidFill>
            </a:endParaRPr>
          </a:p>
        </p:txBody>
      </p:sp>
      <p:sp>
        <p:nvSpPr>
          <p:cNvPr id="6" name="TextBox 5">
            <a:extLst>
              <a:ext uri="{FF2B5EF4-FFF2-40B4-BE49-F238E27FC236}">
                <a16:creationId xmlns:a16="http://schemas.microsoft.com/office/drawing/2014/main" id="{69F7C2F4-6F56-3C3F-A147-3D40478291C8}"/>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3961985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38B4531E-D717-888A-71A4-D4F2B0471132}"/>
              </a:ext>
            </a:extLst>
          </p:cNvPr>
          <p:cNvSpPr>
            <a:spLocks noGrp="1"/>
          </p:cNvSpPr>
          <p:nvPr>
            <p:ph idx="1"/>
          </p:nvPr>
        </p:nvSpPr>
        <p:spPr>
          <a:xfrm>
            <a:off x="289992" y="890449"/>
            <a:ext cx="8854008" cy="984824"/>
          </a:xfrm>
        </p:spPr>
        <p:txBody>
          <a:bodyPr/>
          <a:lstStyle/>
          <a:p>
            <a:pPr marL="0" indent="0">
              <a:buNone/>
            </a:pPr>
            <a:r>
              <a:rPr lang="en-US" sz="2000" dirty="0"/>
              <a:t>PROFIBUS PA topologies generally follow a trunk line from which individual instruments are “T” off via using multi-port junction boxes or segment protectors</a:t>
            </a:r>
            <a:endParaRPr lang="en-GB" sz="2000" dirty="0"/>
          </a:p>
        </p:txBody>
      </p:sp>
      <p:sp>
        <p:nvSpPr>
          <p:cNvPr id="7" name="Text Box 5">
            <a:extLst>
              <a:ext uri="{FF2B5EF4-FFF2-40B4-BE49-F238E27FC236}">
                <a16:creationId xmlns:a16="http://schemas.microsoft.com/office/drawing/2014/main" id="{1C266756-81C1-BFCE-53A4-926D6E9FFE83}"/>
              </a:ext>
            </a:extLst>
          </p:cNvPr>
          <p:cNvSpPr txBox="1">
            <a:spLocks noChangeArrowheads="1"/>
          </p:cNvSpPr>
          <p:nvPr/>
        </p:nvSpPr>
        <p:spPr bwMode="auto">
          <a:xfrm>
            <a:off x="6233819" y="2509515"/>
            <a:ext cx="247650" cy="33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algn="ctr"/>
            <a:r>
              <a:rPr lang="en-GB" sz="1500" b="1" dirty="0">
                <a:solidFill>
                  <a:srgbClr val="000000"/>
                </a:solidFill>
                <a:latin typeface="+mn-lt"/>
              </a:rPr>
              <a:t>T</a:t>
            </a:r>
          </a:p>
        </p:txBody>
      </p:sp>
      <p:grpSp>
        <p:nvGrpSpPr>
          <p:cNvPr id="8" name="Group 95">
            <a:extLst>
              <a:ext uri="{FF2B5EF4-FFF2-40B4-BE49-F238E27FC236}">
                <a16:creationId xmlns:a16="http://schemas.microsoft.com/office/drawing/2014/main" id="{0079FABB-F6D1-D69C-F755-41A19B4431F3}"/>
              </a:ext>
            </a:extLst>
          </p:cNvPr>
          <p:cNvGrpSpPr>
            <a:grpSpLocks/>
          </p:cNvGrpSpPr>
          <p:nvPr/>
        </p:nvGrpSpPr>
        <p:grpSpPr bwMode="auto">
          <a:xfrm>
            <a:off x="4102639" y="2884563"/>
            <a:ext cx="2357438" cy="1863328"/>
            <a:chOff x="2336" y="2205"/>
            <a:chExt cx="1980" cy="1565"/>
          </a:xfrm>
        </p:grpSpPr>
        <p:sp>
          <p:nvSpPr>
            <p:cNvPr id="9" name="Text Box 6">
              <a:extLst>
                <a:ext uri="{FF2B5EF4-FFF2-40B4-BE49-F238E27FC236}">
                  <a16:creationId xmlns:a16="http://schemas.microsoft.com/office/drawing/2014/main" id="{FB93F041-E77E-BC69-114F-607A859B00C4}"/>
                </a:ext>
              </a:extLst>
            </p:cNvPr>
            <p:cNvSpPr txBox="1">
              <a:spLocks noChangeArrowheads="1"/>
            </p:cNvSpPr>
            <p:nvPr/>
          </p:nvSpPr>
          <p:spPr bwMode="auto">
            <a:xfrm>
              <a:off x="2336" y="3203"/>
              <a:ext cx="1470" cy="567"/>
            </a:xfrm>
            <a:prstGeom prst="rect">
              <a:avLst/>
            </a:prstGeom>
            <a:solidFill>
              <a:srgbClr val="FFFF99"/>
            </a:solidFill>
            <a:ln w="12700">
              <a:solidFill>
                <a:srgbClr val="000000"/>
              </a:solidFill>
              <a:miter lim="800000"/>
              <a:headEnd/>
              <a:tailEnd/>
            </a:ln>
          </p:spPr>
          <p:txBody>
            <a:bodyPr lIns="13500" tIns="13500" rIns="13500" bIns="13500"/>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algn="ctr"/>
              <a:r>
                <a:rPr lang="en-GB" sz="1350" dirty="0">
                  <a:solidFill>
                    <a:srgbClr val="000000"/>
                  </a:solidFill>
                  <a:latin typeface="+mn-lt"/>
                </a:rPr>
                <a:t>Other termination</a:t>
              </a:r>
            </a:p>
            <a:p>
              <a:pPr algn="ctr"/>
              <a:r>
                <a:rPr lang="en-GB" sz="1350" dirty="0">
                  <a:solidFill>
                    <a:srgbClr val="000000"/>
                  </a:solidFill>
                  <a:latin typeface="+mn-lt"/>
                </a:rPr>
                <a:t>in last junction box (preferred position)</a:t>
              </a:r>
            </a:p>
          </p:txBody>
        </p:sp>
        <p:sp>
          <p:nvSpPr>
            <p:cNvPr id="10" name="Line 7">
              <a:extLst>
                <a:ext uri="{FF2B5EF4-FFF2-40B4-BE49-F238E27FC236}">
                  <a16:creationId xmlns:a16="http://schemas.microsoft.com/office/drawing/2014/main" id="{AF4A3C1A-5181-72A3-6804-732CD4D6E460}"/>
                </a:ext>
              </a:extLst>
            </p:cNvPr>
            <p:cNvSpPr>
              <a:spLocks noChangeShapeType="1"/>
            </p:cNvSpPr>
            <p:nvPr/>
          </p:nvSpPr>
          <p:spPr bwMode="auto">
            <a:xfrm flipV="1">
              <a:off x="3560" y="2205"/>
              <a:ext cx="756" cy="998"/>
            </a:xfrm>
            <a:prstGeom prst="line">
              <a:avLst/>
            </a:prstGeom>
            <a:noFill/>
            <a:ln w="28575">
              <a:solidFill>
                <a:schemeClr val="tx1"/>
              </a:solidFill>
              <a:round/>
              <a:headEnd type="none" w="sm" len="sm"/>
              <a:tailEnd type="triangle" w="sm"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dirty="0"/>
            </a:p>
          </p:txBody>
        </p:sp>
      </p:grpSp>
      <p:grpSp>
        <p:nvGrpSpPr>
          <p:cNvPr id="11" name="Group 91">
            <a:extLst>
              <a:ext uri="{FF2B5EF4-FFF2-40B4-BE49-F238E27FC236}">
                <a16:creationId xmlns:a16="http://schemas.microsoft.com/office/drawing/2014/main" id="{8C7FFC29-AF4F-F493-76E7-8D7421548804}"/>
              </a:ext>
            </a:extLst>
          </p:cNvPr>
          <p:cNvGrpSpPr>
            <a:grpSpLocks/>
          </p:cNvGrpSpPr>
          <p:nvPr/>
        </p:nvGrpSpPr>
        <p:grpSpPr bwMode="auto">
          <a:xfrm>
            <a:off x="1603478" y="1685603"/>
            <a:ext cx="6243638" cy="2169319"/>
            <a:chOff x="246" y="1223"/>
            <a:chExt cx="5244" cy="1822"/>
          </a:xfrm>
        </p:grpSpPr>
        <p:sp>
          <p:nvSpPr>
            <p:cNvPr id="12" name="Rectangle 18">
              <a:extLst>
                <a:ext uri="{FF2B5EF4-FFF2-40B4-BE49-F238E27FC236}">
                  <a16:creationId xmlns:a16="http://schemas.microsoft.com/office/drawing/2014/main" id="{99548807-1C0E-B26C-29A0-F78EFF55C3A0}"/>
                </a:ext>
              </a:extLst>
            </p:cNvPr>
            <p:cNvSpPr>
              <a:spLocks noChangeArrowheads="1"/>
            </p:cNvSpPr>
            <p:nvPr/>
          </p:nvSpPr>
          <p:spPr bwMode="auto">
            <a:xfrm>
              <a:off x="763" y="1574"/>
              <a:ext cx="18" cy="350"/>
            </a:xfrm>
            <a:prstGeom prst="rect">
              <a:avLst/>
            </a:prstGeom>
            <a:solidFill>
              <a:srgbClr val="000000"/>
            </a:solidFill>
            <a:ln w="9525">
              <a:solidFill>
                <a:srgbClr val="B90997"/>
              </a:solidFill>
              <a:miter lim="800000"/>
              <a:headEnd/>
              <a:tailEnd/>
            </a:ln>
          </p:spPr>
          <p:txBody>
            <a:bodyPr/>
            <a:lstStyle/>
            <a:p>
              <a:endParaRPr lang="en-GB" sz="1350" dirty="0"/>
            </a:p>
          </p:txBody>
        </p:sp>
        <p:sp>
          <p:nvSpPr>
            <p:cNvPr id="13" name="Rectangle 19">
              <a:extLst>
                <a:ext uri="{FF2B5EF4-FFF2-40B4-BE49-F238E27FC236}">
                  <a16:creationId xmlns:a16="http://schemas.microsoft.com/office/drawing/2014/main" id="{0CCAEDD8-44A3-2928-6C66-CDC500F03ABD}"/>
                </a:ext>
              </a:extLst>
            </p:cNvPr>
            <p:cNvSpPr>
              <a:spLocks noChangeArrowheads="1"/>
            </p:cNvSpPr>
            <p:nvPr/>
          </p:nvSpPr>
          <p:spPr bwMode="auto">
            <a:xfrm>
              <a:off x="246" y="1416"/>
              <a:ext cx="378"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z="1350" dirty="0"/>
            </a:p>
          </p:txBody>
        </p:sp>
        <p:sp>
          <p:nvSpPr>
            <p:cNvPr id="14" name="Rectangle 20">
              <a:extLst>
                <a:ext uri="{FF2B5EF4-FFF2-40B4-BE49-F238E27FC236}">
                  <a16:creationId xmlns:a16="http://schemas.microsoft.com/office/drawing/2014/main" id="{CC135167-26A4-96A5-CE89-B2AA0EE0EE39}"/>
                </a:ext>
              </a:extLst>
            </p:cNvPr>
            <p:cNvSpPr>
              <a:spLocks noChangeArrowheads="1"/>
            </p:cNvSpPr>
            <p:nvPr/>
          </p:nvSpPr>
          <p:spPr bwMode="auto">
            <a:xfrm>
              <a:off x="338" y="1451"/>
              <a:ext cx="16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DP</a:t>
              </a:r>
              <a:endParaRPr lang="en-GB" sz="1350" dirty="0"/>
            </a:p>
          </p:txBody>
        </p:sp>
        <p:sp>
          <p:nvSpPr>
            <p:cNvPr id="15" name="Rectangle 21">
              <a:extLst>
                <a:ext uri="{FF2B5EF4-FFF2-40B4-BE49-F238E27FC236}">
                  <a16:creationId xmlns:a16="http://schemas.microsoft.com/office/drawing/2014/main" id="{30674857-DA2B-4921-8867-07F2891C21A9}"/>
                </a:ext>
              </a:extLst>
            </p:cNvPr>
            <p:cNvSpPr>
              <a:spLocks noChangeArrowheads="1"/>
            </p:cNvSpPr>
            <p:nvPr/>
          </p:nvSpPr>
          <p:spPr bwMode="auto">
            <a:xfrm>
              <a:off x="523" y="1451"/>
              <a:ext cx="3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 </a:t>
              </a:r>
              <a:endParaRPr lang="en-GB" sz="1350" dirty="0"/>
            </a:p>
          </p:txBody>
        </p:sp>
        <p:sp>
          <p:nvSpPr>
            <p:cNvPr id="16" name="Rectangle 22">
              <a:extLst>
                <a:ext uri="{FF2B5EF4-FFF2-40B4-BE49-F238E27FC236}">
                  <a16:creationId xmlns:a16="http://schemas.microsoft.com/office/drawing/2014/main" id="{2B002AD9-FF54-BE7F-2395-DBE4368FE5AE}"/>
                </a:ext>
              </a:extLst>
            </p:cNvPr>
            <p:cNvSpPr>
              <a:spLocks noChangeArrowheads="1"/>
            </p:cNvSpPr>
            <p:nvPr/>
          </p:nvSpPr>
          <p:spPr bwMode="auto">
            <a:xfrm>
              <a:off x="1215" y="2125"/>
              <a:ext cx="3601" cy="18"/>
            </a:xfrm>
            <a:prstGeom prst="rect">
              <a:avLst/>
            </a:prstGeom>
            <a:solidFill>
              <a:srgbClr val="000000"/>
            </a:solidFill>
            <a:ln w="9525">
              <a:solidFill>
                <a:srgbClr val="0000FF"/>
              </a:solidFill>
              <a:miter lim="800000"/>
              <a:headEnd/>
              <a:tailEnd/>
            </a:ln>
          </p:spPr>
          <p:txBody>
            <a:bodyPr/>
            <a:lstStyle/>
            <a:p>
              <a:endParaRPr lang="en-GB" sz="1350" dirty="0"/>
            </a:p>
          </p:txBody>
        </p:sp>
        <p:sp>
          <p:nvSpPr>
            <p:cNvPr id="17" name="Rectangle 23">
              <a:extLst>
                <a:ext uri="{FF2B5EF4-FFF2-40B4-BE49-F238E27FC236}">
                  <a16:creationId xmlns:a16="http://schemas.microsoft.com/office/drawing/2014/main" id="{80066A9C-7263-DD63-9CF1-C7F6BAD75432}"/>
                </a:ext>
              </a:extLst>
            </p:cNvPr>
            <p:cNvSpPr>
              <a:spLocks noChangeArrowheads="1"/>
            </p:cNvSpPr>
            <p:nvPr/>
          </p:nvSpPr>
          <p:spPr bwMode="auto">
            <a:xfrm>
              <a:off x="4373" y="1574"/>
              <a:ext cx="18" cy="560"/>
            </a:xfrm>
            <a:prstGeom prst="rect">
              <a:avLst/>
            </a:prstGeom>
            <a:solidFill>
              <a:srgbClr val="0000FF"/>
            </a:solidFill>
            <a:ln w="9525">
              <a:solidFill>
                <a:srgbClr val="0000FF"/>
              </a:solidFill>
              <a:miter lim="800000"/>
              <a:headEnd/>
              <a:tailEnd/>
            </a:ln>
          </p:spPr>
          <p:txBody>
            <a:bodyPr/>
            <a:lstStyle/>
            <a:p>
              <a:endParaRPr lang="en-GB" sz="1350" dirty="0"/>
            </a:p>
          </p:txBody>
        </p:sp>
        <p:sp>
          <p:nvSpPr>
            <p:cNvPr id="18" name="Rectangle 24">
              <a:extLst>
                <a:ext uri="{FF2B5EF4-FFF2-40B4-BE49-F238E27FC236}">
                  <a16:creationId xmlns:a16="http://schemas.microsoft.com/office/drawing/2014/main" id="{1B2F081C-47EC-61F3-6F9F-396A8F34785A}"/>
                </a:ext>
              </a:extLst>
            </p:cNvPr>
            <p:cNvSpPr>
              <a:spLocks noChangeArrowheads="1"/>
            </p:cNvSpPr>
            <p:nvPr/>
          </p:nvSpPr>
          <p:spPr bwMode="auto">
            <a:xfrm>
              <a:off x="3597" y="1574"/>
              <a:ext cx="19" cy="560"/>
            </a:xfrm>
            <a:prstGeom prst="rect">
              <a:avLst/>
            </a:prstGeom>
            <a:solidFill>
              <a:srgbClr val="000000"/>
            </a:solidFill>
            <a:ln w="9525">
              <a:solidFill>
                <a:srgbClr val="0000FF"/>
              </a:solidFill>
              <a:miter lim="800000"/>
              <a:headEnd/>
              <a:tailEnd/>
            </a:ln>
          </p:spPr>
          <p:txBody>
            <a:bodyPr/>
            <a:lstStyle/>
            <a:p>
              <a:endParaRPr lang="en-GB" sz="1350" dirty="0"/>
            </a:p>
          </p:txBody>
        </p:sp>
        <p:sp>
          <p:nvSpPr>
            <p:cNvPr id="19" name="Rectangle 25">
              <a:extLst>
                <a:ext uri="{FF2B5EF4-FFF2-40B4-BE49-F238E27FC236}">
                  <a16:creationId xmlns:a16="http://schemas.microsoft.com/office/drawing/2014/main" id="{C487B9C3-B9FF-1024-D073-37AA05B265A9}"/>
                </a:ext>
              </a:extLst>
            </p:cNvPr>
            <p:cNvSpPr>
              <a:spLocks noChangeArrowheads="1"/>
            </p:cNvSpPr>
            <p:nvPr/>
          </p:nvSpPr>
          <p:spPr bwMode="auto">
            <a:xfrm>
              <a:off x="2822" y="1574"/>
              <a:ext cx="18" cy="560"/>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sz="1350" dirty="0"/>
            </a:p>
          </p:txBody>
        </p:sp>
        <p:sp>
          <p:nvSpPr>
            <p:cNvPr id="20" name="Freeform 26">
              <a:extLst>
                <a:ext uri="{FF2B5EF4-FFF2-40B4-BE49-F238E27FC236}">
                  <a16:creationId xmlns:a16="http://schemas.microsoft.com/office/drawing/2014/main" id="{5CF2F77A-AA68-11FE-89F6-2DAD5A82D8FA}"/>
                </a:ext>
              </a:extLst>
            </p:cNvPr>
            <p:cNvSpPr>
              <a:spLocks/>
            </p:cNvSpPr>
            <p:nvPr/>
          </p:nvSpPr>
          <p:spPr bwMode="auto">
            <a:xfrm>
              <a:off x="4382" y="1775"/>
              <a:ext cx="443" cy="368"/>
            </a:xfrm>
            <a:custGeom>
              <a:avLst/>
              <a:gdLst>
                <a:gd name="T0" fmla="*/ 0 w 443"/>
                <a:gd name="T1" fmla="*/ 350 h 368"/>
                <a:gd name="T2" fmla="*/ 9 w 443"/>
                <a:gd name="T3" fmla="*/ 368 h 368"/>
                <a:gd name="T4" fmla="*/ 443 w 443"/>
                <a:gd name="T5" fmla="*/ 18 h 368"/>
                <a:gd name="T6" fmla="*/ 434 w 443"/>
                <a:gd name="T7" fmla="*/ 0 h 368"/>
                <a:gd name="T8" fmla="*/ 0 w 443"/>
                <a:gd name="T9" fmla="*/ 350 h 3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3" h="368">
                  <a:moveTo>
                    <a:pt x="0" y="350"/>
                  </a:moveTo>
                  <a:lnTo>
                    <a:pt x="9" y="368"/>
                  </a:lnTo>
                  <a:lnTo>
                    <a:pt x="443" y="18"/>
                  </a:lnTo>
                  <a:lnTo>
                    <a:pt x="434" y="0"/>
                  </a:lnTo>
                  <a:lnTo>
                    <a:pt x="0" y="350"/>
                  </a:lnTo>
                  <a:close/>
                </a:path>
              </a:pathLst>
            </a:custGeom>
            <a:solidFill>
              <a:srgbClr val="0000FF"/>
            </a:solidFill>
            <a:ln w="9525">
              <a:solidFill>
                <a:srgbClr val="000000"/>
              </a:solidFill>
              <a:round/>
              <a:headEnd/>
              <a:tailEnd/>
            </a:ln>
          </p:spPr>
          <p:txBody>
            <a:bodyPr/>
            <a:lstStyle/>
            <a:p>
              <a:endParaRPr lang="en-GB" sz="1350" dirty="0"/>
            </a:p>
          </p:txBody>
        </p:sp>
        <p:sp>
          <p:nvSpPr>
            <p:cNvPr id="21" name="Freeform 27">
              <a:extLst>
                <a:ext uri="{FF2B5EF4-FFF2-40B4-BE49-F238E27FC236}">
                  <a16:creationId xmlns:a16="http://schemas.microsoft.com/office/drawing/2014/main" id="{463342DD-C4EB-B9FA-C617-6ECFF861A506}"/>
                </a:ext>
              </a:extLst>
            </p:cNvPr>
            <p:cNvSpPr>
              <a:spLocks/>
            </p:cNvSpPr>
            <p:nvPr/>
          </p:nvSpPr>
          <p:spPr bwMode="auto">
            <a:xfrm>
              <a:off x="4382" y="2125"/>
              <a:ext cx="443" cy="298"/>
            </a:xfrm>
            <a:custGeom>
              <a:avLst/>
              <a:gdLst>
                <a:gd name="T0" fmla="*/ 434 w 443"/>
                <a:gd name="T1" fmla="*/ 298 h 298"/>
                <a:gd name="T2" fmla="*/ 443 w 443"/>
                <a:gd name="T3" fmla="*/ 281 h 298"/>
                <a:gd name="T4" fmla="*/ 9 w 443"/>
                <a:gd name="T5" fmla="*/ 0 h 298"/>
                <a:gd name="T6" fmla="*/ 0 w 443"/>
                <a:gd name="T7" fmla="*/ 18 h 298"/>
                <a:gd name="T8" fmla="*/ 434 w 443"/>
                <a:gd name="T9" fmla="*/ 298 h 29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3" h="298">
                  <a:moveTo>
                    <a:pt x="434" y="298"/>
                  </a:moveTo>
                  <a:lnTo>
                    <a:pt x="443" y="281"/>
                  </a:lnTo>
                  <a:lnTo>
                    <a:pt x="9" y="0"/>
                  </a:lnTo>
                  <a:lnTo>
                    <a:pt x="0" y="18"/>
                  </a:lnTo>
                  <a:lnTo>
                    <a:pt x="434" y="298"/>
                  </a:lnTo>
                  <a:close/>
                </a:path>
              </a:pathLst>
            </a:custGeom>
            <a:solidFill>
              <a:srgbClr val="0000FF"/>
            </a:solidFill>
            <a:ln w="9525">
              <a:solidFill>
                <a:srgbClr val="000000"/>
              </a:solidFill>
              <a:round/>
              <a:headEnd/>
              <a:tailEnd/>
            </a:ln>
          </p:spPr>
          <p:txBody>
            <a:bodyPr/>
            <a:lstStyle/>
            <a:p>
              <a:endParaRPr lang="en-GB" sz="1350" dirty="0"/>
            </a:p>
          </p:txBody>
        </p:sp>
        <p:sp>
          <p:nvSpPr>
            <p:cNvPr id="22" name="Rectangle 28">
              <a:extLst>
                <a:ext uri="{FF2B5EF4-FFF2-40B4-BE49-F238E27FC236}">
                  <a16:creationId xmlns:a16="http://schemas.microsoft.com/office/drawing/2014/main" id="{3CDC7A95-224E-26EA-E622-08F67D7A355B}"/>
                </a:ext>
              </a:extLst>
            </p:cNvPr>
            <p:cNvSpPr>
              <a:spLocks noChangeArrowheads="1"/>
            </p:cNvSpPr>
            <p:nvPr/>
          </p:nvSpPr>
          <p:spPr bwMode="auto">
            <a:xfrm>
              <a:off x="4373" y="2134"/>
              <a:ext cx="18" cy="552"/>
            </a:xfrm>
            <a:prstGeom prst="rect">
              <a:avLst/>
            </a:prstGeom>
            <a:solidFill>
              <a:srgbClr val="000000"/>
            </a:solidFill>
            <a:ln w="9525">
              <a:solidFill>
                <a:srgbClr val="0000FF"/>
              </a:solidFill>
              <a:miter lim="800000"/>
              <a:headEnd/>
              <a:tailEnd/>
            </a:ln>
          </p:spPr>
          <p:txBody>
            <a:bodyPr/>
            <a:lstStyle/>
            <a:p>
              <a:endParaRPr lang="en-GB" sz="1350" dirty="0"/>
            </a:p>
          </p:txBody>
        </p:sp>
        <p:sp>
          <p:nvSpPr>
            <p:cNvPr id="23" name="Rectangle 29">
              <a:extLst>
                <a:ext uri="{FF2B5EF4-FFF2-40B4-BE49-F238E27FC236}">
                  <a16:creationId xmlns:a16="http://schemas.microsoft.com/office/drawing/2014/main" id="{BA9E5928-64CD-BD50-0295-A819ADAA71A7}"/>
                </a:ext>
              </a:extLst>
            </p:cNvPr>
            <p:cNvSpPr>
              <a:spLocks noChangeArrowheads="1"/>
            </p:cNvSpPr>
            <p:nvPr/>
          </p:nvSpPr>
          <p:spPr bwMode="auto">
            <a:xfrm>
              <a:off x="2378" y="2134"/>
              <a:ext cx="19" cy="762"/>
            </a:xfrm>
            <a:prstGeom prst="rect">
              <a:avLst/>
            </a:prstGeom>
            <a:solidFill>
              <a:srgbClr val="000000"/>
            </a:solidFill>
            <a:ln w="9525">
              <a:solidFill>
                <a:srgbClr val="0000FF"/>
              </a:solidFill>
              <a:miter lim="800000"/>
              <a:headEnd/>
              <a:tailEnd/>
            </a:ln>
          </p:spPr>
          <p:txBody>
            <a:bodyPr/>
            <a:lstStyle/>
            <a:p>
              <a:endParaRPr lang="en-GB" sz="1350" dirty="0"/>
            </a:p>
          </p:txBody>
        </p:sp>
        <p:sp>
          <p:nvSpPr>
            <p:cNvPr id="24" name="Rectangle 31">
              <a:extLst>
                <a:ext uri="{FF2B5EF4-FFF2-40B4-BE49-F238E27FC236}">
                  <a16:creationId xmlns:a16="http://schemas.microsoft.com/office/drawing/2014/main" id="{B86AA286-AFB9-5989-962A-1D909FA35399}"/>
                </a:ext>
              </a:extLst>
            </p:cNvPr>
            <p:cNvSpPr>
              <a:spLocks noChangeArrowheads="1"/>
            </p:cNvSpPr>
            <p:nvPr/>
          </p:nvSpPr>
          <p:spPr bwMode="auto">
            <a:xfrm>
              <a:off x="1935" y="1574"/>
              <a:ext cx="19" cy="560"/>
            </a:xfrm>
            <a:prstGeom prst="rect">
              <a:avLst/>
            </a:prstGeom>
            <a:solidFill>
              <a:srgbClr val="000000"/>
            </a:solidFill>
            <a:ln w="9525">
              <a:solidFill>
                <a:srgbClr val="0000FF"/>
              </a:solidFill>
              <a:miter lim="800000"/>
              <a:headEnd/>
              <a:tailEnd/>
            </a:ln>
          </p:spPr>
          <p:txBody>
            <a:bodyPr/>
            <a:lstStyle/>
            <a:p>
              <a:endParaRPr lang="en-GB" sz="1350" dirty="0"/>
            </a:p>
          </p:txBody>
        </p:sp>
        <p:sp>
          <p:nvSpPr>
            <p:cNvPr id="25" name="Rectangle 32">
              <a:extLst>
                <a:ext uri="{FF2B5EF4-FFF2-40B4-BE49-F238E27FC236}">
                  <a16:creationId xmlns:a16="http://schemas.microsoft.com/office/drawing/2014/main" id="{BEAC172E-AC21-ABD7-E15D-4F3435C656AF}"/>
                </a:ext>
              </a:extLst>
            </p:cNvPr>
            <p:cNvSpPr>
              <a:spLocks noChangeArrowheads="1"/>
            </p:cNvSpPr>
            <p:nvPr/>
          </p:nvSpPr>
          <p:spPr bwMode="auto">
            <a:xfrm>
              <a:off x="1575" y="1223"/>
              <a:ext cx="674" cy="359"/>
            </a:xfrm>
            <a:prstGeom prst="rect">
              <a:avLst/>
            </a:prstGeom>
            <a:solidFill>
              <a:srgbClr val="99CCFF"/>
            </a:solidFill>
            <a:ln w="14288">
              <a:solidFill>
                <a:srgbClr val="000000"/>
              </a:solidFill>
              <a:miter lim="800000"/>
              <a:headEnd/>
              <a:tailEnd/>
            </a:ln>
          </p:spPr>
          <p:txBody>
            <a:bodyPr/>
            <a:lstStyle/>
            <a:p>
              <a:endParaRPr lang="en-GB" sz="1350" dirty="0"/>
            </a:p>
          </p:txBody>
        </p:sp>
        <p:sp>
          <p:nvSpPr>
            <p:cNvPr id="26" name="Rectangle 33">
              <a:extLst>
                <a:ext uri="{FF2B5EF4-FFF2-40B4-BE49-F238E27FC236}">
                  <a16:creationId xmlns:a16="http://schemas.microsoft.com/office/drawing/2014/main" id="{BAC1E95B-5D97-954D-D65A-38A736C72847}"/>
                </a:ext>
              </a:extLst>
            </p:cNvPr>
            <p:cNvSpPr>
              <a:spLocks noChangeArrowheads="1"/>
            </p:cNvSpPr>
            <p:nvPr/>
          </p:nvSpPr>
          <p:spPr bwMode="auto">
            <a:xfrm>
              <a:off x="1631" y="1302"/>
              <a:ext cx="47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PA slave</a:t>
              </a:r>
              <a:endParaRPr lang="en-GB" sz="1350" dirty="0"/>
            </a:p>
          </p:txBody>
        </p:sp>
        <p:sp>
          <p:nvSpPr>
            <p:cNvPr id="27" name="Rectangle 34">
              <a:extLst>
                <a:ext uri="{FF2B5EF4-FFF2-40B4-BE49-F238E27FC236}">
                  <a16:creationId xmlns:a16="http://schemas.microsoft.com/office/drawing/2014/main" id="{A429AF22-AA71-4D15-B7BB-36E428984764}"/>
                </a:ext>
              </a:extLst>
            </p:cNvPr>
            <p:cNvSpPr>
              <a:spLocks noChangeArrowheads="1"/>
            </p:cNvSpPr>
            <p:nvPr/>
          </p:nvSpPr>
          <p:spPr bwMode="auto">
            <a:xfrm>
              <a:off x="2203" y="1302"/>
              <a:ext cx="3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 </a:t>
              </a:r>
              <a:endParaRPr lang="en-GB" sz="1350" dirty="0"/>
            </a:p>
          </p:txBody>
        </p:sp>
        <p:sp>
          <p:nvSpPr>
            <p:cNvPr id="28" name="Rectangle 35">
              <a:extLst>
                <a:ext uri="{FF2B5EF4-FFF2-40B4-BE49-F238E27FC236}">
                  <a16:creationId xmlns:a16="http://schemas.microsoft.com/office/drawing/2014/main" id="{9FF4BA7E-1544-8323-5518-07ECB46D0F1D}"/>
                </a:ext>
              </a:extLst>
            </p:cNvPr>
            <p:cNvSpPr>
              <a:spLocks noChangeArrowheads="1"/>
            </p:cNvSpPr>
            <p:nvPr/>
          </p:nvSpPr>
          <p:spPr bwMode="auto">
            <a:xfrm>
              <a:off x="763" y="2344"/>
              <a:ext cx="18" cy="20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sz="1350" dirty="0"/>
            </a:p>
          </p:txBody>
        </p:sp>
        <p:sp>
          <p:nvSpPr>
            <p:cNvPr id="29" name="Rectangle 36">
              <a:extLst>
                <a:ext uri="{FF2B5EF4-FFF2-40B4-BE49-F238E27FC236}">
                  <a16:creationId xmlns:a16="http://schemas.microsoft.com/office/drawing/2014/main" id="{88FA6E66-0C6F-DD9E-7034-B33510E6BD24}"/>
                </a:ext>
              </a:extLst>
            </p:cNvPr>
            <p:cNvSpPr>
              <a:spLocks noChangeArrowheads="1"/>
            </p:cNvSpPr>
            <p:nvPr/>
          </p:nvSpPr>
          <p:spPr bwMode="auto">
            <a:xfrm>
              <a:off x="476" y="2546"/>
              <a:ext cx="601" cy="499"/>
            </a:xfrm>
            <a:prstGeom prst="rect">
              <a:avLst/>
            </a:prstGeom>
            <a:solidFill>
              <a:srgbClr val="FFCC99"/>
            </a:solidFill>
            <a:ln w="14288">
              <a:solidFill>
                <a:srgbClr val="000000"/>
              </a:solidFill>
              <a:miter lim="800000"/>
              <a:headEnd/>
              <a:tailEnd/>
            </a:ln>
          </p:spPr>
          <p:txBody>
            <a:bodyPr/>
            <a:lstStyle/>
            <a:p>
              <a:endParaRPr lang="en-GB" sz="1350" dirty="0"/>
            </a:p>
          </p:txBody>
        </p:sp>
        <p:sp>
          <p:nvSpPr>
            <p:cNvPr id="30" name="Rectangle 37">
              <a:extLst>
                <a:ext uri="{FF2B5EF4-FFF2-40B4-BE49-F238E27FC236}">
                  <a16:creationId xmlns:a16="http://schemas.microsoft.com/office/drawing/2014/main" id="{21639048-6F71-821D-0C29-EB46BB521329}"/>
                </a:ext>
              </a:extLst>
            </p:cNvPr>
            <p:cNvSpPr>
              <a:spLocks noChangeArrowheads="1"/>
            </p:cNvSpPr>
            <p:nvPr/>
          </p:nvSpPr>
          <p:spPr bwMode="auto">
            <a:xfrm>
              <a:off x="578" y="2598"/>
              <a:ext cx="40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Power </a:t>
              </a:r>
              <a:endParaRPr lang="en-GB" sz="1350" dirty="0"/>
            </a:p>
          </p:txBody>
        </p:sp>
        <p:sp>
          <p:nvSpPr>
            <p:cNvPr id="31" name="Rectangle 38">
              <a:extLst>
                <a:ext uri="{FF2B5EF4-FFF2-40B4-BE49-F238E27FC236}">
                  <a16:creationId xmlns:a16="http://schemas.microsoft.com/office/drawing/2014/main" id="{B90B752C-7C5B-BB70-D633-66ED8DE7AE41}"/>
                </a:ext>
              </a:extLst>
            </p:cNvPr>
            <p:cNvSpPr>
              <a:spLocks noChangeArrowheads="1"/>
            </p:cNvSpPr>
            <p:nvPr/>
          </p:nvSpPr>
          <p:spPr bwMode="auto">
            <a:xfrm>
              <a:off x="569" y="2791"/>
              <a:ext cx="38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supply</a:t>
              </a:r>
              <a:endParaRPr lang="en-GB" sz="1350" dirty="0"/>
            </a:p>
          </p:txBody>
        </p:sp>
        <p:sp>
          <p:nvSpPr>
            <p:cNvPr id="32" name="Rectangle 39">
              <a:extLst>
                <a:ext uri="{FF2B5EF4-FFF2-40B4-BE49-F238E27FC236}">
                  <a16:creationId xmlns:a16="http://schemas.microsoft.com/office/drawing/2014/main" id="{629AAAFE-6B4F-5F69-999D-7ED085F93DD7}"/>
                </a:ext>
              </a:extLst>
            </p:cNvPr>
            <p:cNvSpPr>
              <a:spLocks noChangeArrowheads="1"/>
            </p:cNvSpPr>
            <p:nvPr/>
          </p:nvSpPr>
          <p:spPr bwMode="auto">
            <a:xfrm>
              <a:off x="993" y="2791"/>
              <a:ext cx="3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 </a:t>
              </a:r>
              <a:endParaRPr lang="en-GB" sz="1350" dirty="0"/>
            </a:p>
          </p:txBody>
        </p:sp>
        <p:sp>
          <p:nvSpPr>
            <p:cNvPr id="33" name="Rectangle 40">
              <a:extLst>
                <a:ext uri="{FF2B5EF4-FFF2-40B4-BE49-F238E27FC236}">
                  <a16:creationId xmlns:a16="http://schemas.microsoft.com/office/drawing/2014/main" id="{0AB699C8-C085-69E7-0AC5-276F8E1962CB}"/>
                </a:ext>
              </a:extLst>
            </p:cNvPr>
            <p:cNvSpPr>
              <a:spLocks noChangeArrowheads="1"/>
            </p:cNvSpPr>
            <p:nvPr/>
          </p:nvSpPr>
          <p:spPr bwMode="auto">
            <a:xfrm>
              <a:off x="329" y="1889"/>
              <a:ext cx="895" cy="490"/>
            </a:xfrm>
            <a:prstGeom prst="rect">
              <a:avLst/>
            </a:prstGeom>
            <a:solidFill>
              <a:srgbClr val="99FF99"/>
            </a:solidFill>
            <a:ln w="14288">
              <a:solidFill>
                <a:srgbClr val="000000"/>
              </a:solidFill>
              <a:miter lim="800000"/>
              <a:headEnd/>
              <a:tailEnd/>
            </a:ln>
          </p:spPr>
          <p:txBody>
            <a:bodyPr/>
            <a:lstStyle/>
            <a:p>
              <a:endParaRPr lang="en-GB" sz="1350" dirty="0"/>
            </a:p>
          </p:txBody>
        </p:sp>
        <p:sp>
          <p:nvSpPr>
            <p:cNvPr id="34" name="Rectangle 41">
              <a:extLst>
                <a:ext uri="{FF2B5EF4-FFF2-40B4-BE49-F238E27FC236}">
                  <a16:creationId xmlns:a16="http://schemas.microsoft.com/office/drawing/2014/main" id="{FAD5CA58-5A6F-F9D4-A0CD-8BB38934BBEB}"/>
                </a:ext>
              </a:extLst>
            </p:cNvPr>
            <p:cNvSpPr>
              <a:spLocks noChangeArrowheads="1"/>
            </p:cNvSpPr>
            <p:nvPr/>
          </p:nvSpPr>
          <p:spPr bwMode="auto">
            <a:xfrm>
              <a:off x="559" y="1932"/>
              <a:ext cx="39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DP/PA </a:t>
              </a:r>
              <a:endParaRPr lang="en-GB" sz="1350" dirty="0"/>
            </a:p>
          </p:txBody>
        </p:sp>
        <p:sp>
          <p:nvSpPr>
            <p:cNvPr id="35" name="Rectangle 42">
              <a:extLst>
                <a:ext uri="{FF2B5EF4-FFF2-40B4-BE49-F238E27FC236}">
                  <a16:creationId xmlns:a16="http://schemas.microsoft.com/office/drawing/2014/main" id="{C7B0DCD9-22AE-8732-8733-036A6D8592C4}"/>
                </a:ext>
              </a:extLst>
            </p:cNvPr>
            <p:cNvSpPr>
              <a:spLocks noChangeArrowheads="1"/>
            </p:cNvSpPr>
            <p:nvPr/>
          </p:nvSpPr>
          <p:spPr bwMode="auto">
            <a:xfrm>
              <a:off x="532" y="2125"/>
              <a:ext cx="448"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coupler</a:t>
              </a:r>
              <a:endParaRPr lang="en-GB" sz="1350" dirty="0"/>
            </a:p>
          </p:txBody>
        </p:sp>
        <p:sp>
          <p:nvSpPr>
            <p:cNvPr id="36" name="Rectangle 44">
              <a:extLst>
                <a:ext uri="{FF2B5EF4-FFF2-40B4-BE49-F238E27FC236}">
                  <a16:creationId xmlns:a16="http://schemas.microsoft.com/office/drawing/2014/main" id="{5F419AD7-D029-D013-3587-12388A56DD30}"/>
                </a:ext>
              </a:extLst>
            </p:cNvPr>
            <p:cNvSpPr>
              <a:spLocks noChangeArrowheads="1"/>
            </p:cNvSpPr>
            <p:nvPr/>
          </p:nvSpPr>
          <p:spPr bwMode="auto">
            <a:xfrm>
              <a:off x="550" y="1565"/>
              <a:ext cx="222" cy="17"/>
            </a:xfrm>
            <a:prstGeom prst="rect">
              <a:avLst/>
            </a:prstGeom>
            <a:solidFill>
              <a:srgbClr val="000000"/>
            </a:solidFill>
            <a:ln w="9525">
              <a:solidFill>
                <a:srgbClr val="B90997"/>
              </a:solidFill>
              <a:miter lim="800000"/>
              <a:headEnd/>
              <a:tailEnd/>
            </a:ln>
          </p:spPr>
          <p:txBody>
            <a:bodyPr/>
            <a:lstStyle/>
            <a:p>
              <a:endParaRPr lang="en-GB" sz="1350" dirty="0"/>
            </a:p>
          </p:txBody>
        </p:sp>
        <p:sp>
          <p:nvSpPr>
            <p:cNvPr id="37" name="Rectangle 45">
              <a:extLst>
                <a:ext uri="{FF2B5EF4-FFF2-40B4-BE49-F238E27FC236}">
                  <a16:creationId xmlns:a16="http://schemas.microsoft.com/office/drawing/2014/main" id="{74FB6B85-3990-BCDD-DA2D-E61F2A5AC38F}"/>
                </a:ext>
              </a:extLst>
            </p:cNvPr>
            <p:cNvSpPr>
              <a:spLocks noChangeArrowheads="1"/>
            </p:cNvSpPr>
            <p:nvPr/>
          </p:nvSpPr>
          <p:spPr bwMode="auto">
            <a:xfrm>
              <a:off x="1871" y="2064"/>
              <a:ext cx="157" cy="149"/>
            </a:xfrm>
            <a:prstGeom prst="rect">
              <a:avLst/>
            </a:prstGeom>
            <a:solidFill>
              <a:srgbClr val="C0C0C0"/>
            </a:solidFill>
            <a:ln w="14288">
              <a:solidFill>
                <a:srgbClr val="000000"/>
              </a:solidFill>
              <a:miter lim="800000"/>
              <a:headEnd/>
              <a:tailEnd/>
            </a:ln>
          </p:spPr>
          <p:txBody>
            <a:bodyPr/>
            <a:lstStyle/>
            <a:p>
              <a:endParaRPr lang="en-GB" sz="1350" dirty="0"/>
            </a:p>
          </p:txBody>
        </p:sp>
        <p:sp>
          <p:nvSpPr>
            <p:cNvPr id="38" name="Rectangle 46">
              <a:extLst>
                <a:ext uri="{FF2B5EF4-FFF2-40B4-BE49-F238E27FC236}">
                  <a16:creationId xmlns:a16="http://schemas.microsoft.com/office/drawing/2014/main" id="{459040FA-CBE9-D890-E492-921C37AF0D63}"/>
                </a:ext>
              </a:extLst>
            </p:cNvPr>
            <p:cNvSpPr>
              <a:spLocks noChangeArrowheads="1"/>
            </p:cNvSpPr>
            <p:nvPr/>
          </p:nvSpPr>
          <p:spPr bwMode="auto">
            <a:xfrm>
              <a:off x="2314" y="2064"/>
              <a:ext cx="157" cy="149"/>
            </a:xfrm>
            <a:prstGeom prst="rect">
              <a:avLst/>
            </a:prstGeom>
            <a:solidFill>
              <a:srgbClr val="C0C0C0"/>
            </a:solidFill>
            <a:ln w="14288">
              <a:solidFill>
                <a:srgbClr val="000000"/>
              </a:solidFill>
              <a:miter lim="800000"/>
              <a:headEnd/>
              <a:tailEnd/>
            </a:ln>
          </p:spPr>
          <p:txBody>
            <a:bodyPr/>
            <a:lstStyle/>
            <a:p>
              <a:endParaRPr lang="en-GB" sz="1350" dirty="0"/>
            </a:p>
          </p:txBody>
        </p:sp>
        <p:sp>
          <p:nvSpPr>
            <p:cNvPr id="39" name="Rectangle 47">
              <a:extLst>
                <a:ext uri="{FF2B5EF4-FFF2-40B4-BE49-F238E27FC236}">
                  <a16:creationId xmlns:a16="http://schemas.microsoft.com/office/drawing/2014/main" id="{A4BF7503-08D4-F91A-2C4F-83BCF8F619A3}"/>
                </a:ext>
              </a:extLst>
            </p:cNvPr>
            <p:cNvSpPr>
              <a:spLocks noChangeArrowheads="1"/>
            </p:cNvSpPr>
            <p:nvPr/>
          </p:nvSpPr>
          <p:spPr bwMode="auto">
            <a:xfrm>
              <a:off x="2757" y="2064"/>
              <a:ext cx="157" cy="149"/>
            </a:xfrm>
            <a:prstGeom prst="rect">
              <a:avLst/>
            </a:prstGeom>
            <a:solidFill>
              <a:srgbClr val="C0C0C0"/>
            </a:solidFill>
            <a:ln w="14288">
              <a:solidFill>
                <a:srgbClr val="000000"/>
              </a:solidFill>
              <a:miter lim="800000"/>
              <a:headEnd/>
              <a:tailEnd/>
            </a:ln>
          </p:spPr>
          <p:txBody>
            <a:bodyPr/>
            <a:lstStyle/>
            <a:p>
              <a:endParaRPr lang="en-GB" sz="1350" dirty="0"/>
            </a:p>
          </p:txBody>
        </p:sp>
        <p:sp>
          <p:nvSpPr>
            <p:cNvPr id="40" name="Rectangle 48">
              <a:extLst>
                <a:ext uri="{FF2B5EF4-FFF2-40B4-BE49-F238E27FC236}">
                  <a16:creationId xmlns:a16="http://schemas.microsoft.com/office/drawing/2014/main" id="{21814932-65E3-181F-F9BB-68D2E715DD26}"/>
                </a:ext>
              </a:extLst>
            </p:cNvPr>
            <p:cNvSpPr>
              <a:spLocks noChangeArrowheads="1"/>
            </p:cNvSpPr>
            <p:nvPr/>
          </p:nvSpPr>
          <p:spPr bwMode="auto">
            <a:xfrm>
              <a:off x="3533" y="2064"/>
              <a:ext cx="157" cy="149"/>
            </a:xfrm>
            <a:prstGeom prst="rect">
              <a:avLst/>
            </a:prstGeom>
            <a:solidFill>
              <a:srgbClr val="C0C0C0"/>
            </a:solidFill>
            <a:ln w="14288">
              <a:solidFill>
                <a:srgbClr val="000000"/>
              </a:solidFill>
              <a:miter lim="800000"/>
              <a:headEnd/>
              <a:tailEnd/>
            </a:ln>
          </p:spPr>
          <p:txBody>
            <a:bodyPr/>
            <a:lstStyle/>
            <a:p>
              <a:endParaRPr lang="en-GB" sz="1350" dirty="0"/>
            </a:p>
          </p:txBody>
        </p:sp>
        <p:sp>
          <p:nvSpPr>
            <p:cNvPr id="41" name="Rectangle 49">
              <a:extLst>
                <a:ext uri="{FF2B5EF4-FFF2-40B4-BE49-F238E27FC236}">
                  <a16:creationId xmlns:a16="http://schemas.microsoft.com/office/drawing/2014/main" id="{1F39451A-8A6A-B721-55D7-17B493EB605B}"/>
                </a:ext>
              </a:extLst>
            </p:cNvPr>
            <p:cNvSpPr>
              <a:spLocks noChangeArrowheads="1"/>
            </p:cNvSpPr>
            <p:nvPr/>
          </p:nvSpPr>
          <p:spPr bwMode="auto">
            <a:xfrm>
              <a:off x="4308" y="2064"/>
              <a:ext cx="157" cy="149"/>
            </a:xfrm>
            <a:prstGeom prst="rect">
              <a:avLst/>
            </a:prstGeom>
            <a:solidFill>
              <a:srgbClr val="C0C0C0"/>
            </a:solidFill>
            <a:ln w="14288">
              <a:solidFill>
                <a:srgbClr val="000000"/>
              </a:solidFill>
              <a:miter lim="800000"/>
              <a:headEnd/>
              <a:tailEnd/>
            </a:ln>
          </p:spPr>
          <p:txBody>
            <a:bodyPr/>
            <a:lstStyle/>
            <a:p>
              <a:endParaRPr lang="en-GB" sz="1350" dirty="0"/>
            </a:p>
          </p:txBody>
        </p:sp>
        <p:sp>
          <p:nvSpPr>
            <p:cNvPr id="42" name="Rectangle 51">
              <a:extLst>
                <a:ext uri="{FF2B5EF4-FFF2-40B4-BE49-F238E27FC236}">
                  <a16:creationId xmlns:a16="http://schemas.microsoft.com/office/drawing/2014/main" id="{BB7C81E6-F703-C176-60DB-BFFA54F039BB}"/>
                </a:ext>
              </a:extLst>
            </p:cNvPr>
            <p:cNvSpPr>
              <a:spLocks noChangeArrowheads="1"/>
            </p:cNvSpPr>
            <p:nvPr/>
          </p:nvSpPr>
          <p:spPr bwMode="auto">
            <a:xfrm>
              <a:off x="1944" y="1574"/>
              <a:ext cx="822" cy="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z="1350" dirty="0"/>
            </a:p>
          </p:txBody>
        </p:sp>
        <p:sp>
          <p:nvSpPr>
            <p:cNvPr id="43" name="Rectangle 52">
              <a:extLst>
                <a:ext uri="{FF2B5EF4-FFF2-40B4-BE49-F238E27FC236}">
                  <a16:creationId xmlns:a16="http://schemas.microsoft.com/office/drawing/2014/main" id="{2D1C8267-8469-20FF-D568-59AA8D3309DC}"/>
                </a:ext>
              </a:extLst>
            </p:cNvPr>
            <p:cNvSpPr>
              <a:spLocks noChangeArrowheads="1"/>
            </p:cNvSpPr>
            <p:nvPr/>
          </p:nvSpPr>
          <p:spPr bwMode="auto">
            <a:xfrm>
              <a:off x="2203" y="1617"/>
              <a:ext cx="40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050" dirty="0">
                  <a:solidFill>
                    <a:srgbClr val="000000"/>
                  </a:solidFill>
                </a:rPr>
                <a:t>junction </a:t>
              </a:r>
              <a:endParaRPr lang="en-GB" sz="1350" dirty="0"/>
            </a:p>
          </p:txBody>
        </p:sp>
        <p:sp>
          <p:nvSpPr>
            <p:cNvPr id="44" name="Rectangle 53">
              <a:extLst>
                <a:ext uri="{FF2B5EF4-FFF2-40B4-BE49-F238E27FC236}">
                  <a16:creationId xmlns:a16="http://schemas.microsoft.com/office/drawing/2014/main" id="{1C7C163D-59EE-0696-5CD9-9A898462BDB6}"/>
                </a:ext>
              </a:extLst>
            </p:cNvPr>
            <p:cNvSpPr>
              <a:spLocks noChangeArrowheads="1"/>
            </p:cNvSpPr>
            <p:nvPr/>
          </p:nvSpPr>
          <p:spPr bwMode="auto">
            <a:xfrm>
              <a:off x="2268" y="1783"/>
              <a:ext cx="26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050" dirty="0">
                  <a:solidFill>
                    <a:srgbClr val="000000"/>
                  </a:solidFill>
                </a:rPr>
                <a:t>boxes</a:t>
              </a:r>
              <a:endParaRPr lang="en-GB" sz="1350" dirty="0"/>
            </a:p>
          </p:txBody>
        </p:sp>
        <p:sp>
          <p:nvSpPr>
            <p:cNvPr id="45" name="Rectangle 54">
              <a:extLst>
                <a:ext uri="{FF2B5EF4-FFF2-40B4-BE49-F238E27FC236}">
                  <a16:creationId xmlns:a16="http://schemas.microsoft.com/office/drawing/2014/main" id="{ADE07C81-F065-4970-AC93-6654A872F373}"/>
                </a:ext>
              </a:extLst>
            </p:cNvPr>
            <p:cNvSpPr>
              <a:spLocks noChangeArrowheads="1"/>
            </p:cNvSpPr>
            <p:nvPr/>
          </p:nvSpPr>
          <p:spPr bwMode="auto">
            <a:xfrm>
              <a:off x="2600" y="1783"/>
              <a:ext cx="26"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050" dirty="0">
                  <a:solidFill>
                    <a:srgbClr val="000000"/>
                  </a:solidFill>
                </a:rPr>
                <a:t> </a:t>
              </a:r>
              <a:endParaRPr lang="en-GB" sz="1350" dirty="0"/>
            </a:p>
          </p:txBody>
        </p:sp>
        <p:grpSp>
          <p:nvGrpSpPr>
            <p:cNvPr id="46" name="Group 57">
              <a:extLst>
                <a:ext uri="{FF2B5EF4-FFF2-40B4-BE49-F238E27FC236}">
                  <a16:creationId xmlns:a16="http://schemas.microsoft.com/office/drawing/2014/main" id="{6C18E237-3FC1-83CD-B34A-0DD9BBEAC3E1}"/>
                </a:ext>
              </a:extLst>
            </p:cNvPr>
            <p:cNvGrpSpPr>
              <a:grpSpLocks/>
            </p:cNvGrpSpPr>
            <p:nvPr/>
          </p:nvGrpSpPr>
          <p:grpSpPr bwMode="auto">
            <a:xfrm>
              <a:off x="2028" y="1924"/>
              <a:ext cx="212" cy="140"/>
              <a:chOff x="2028" y="1924"/>
              <a:chExt cx="212" cy="140"/>
            </a:xfrm>
          </p:grpSpPr>
          <p:sp>
            <p:nvSpPr>
              <p:cNvPr id="80" name="Line 55">
                <a:extLst>
                  <a:ext uri="{FF2B5EF4-FFF2-40B4-BE49-F238E27FC236}">
                    <a16:creationId xmlns:a16="http://schemas.microsoft.com/office/drawing/2014/main" id="{B169F003-AEFE-68B9-FEFA-74D72A137BC2}"/>
                  </a:ext>
                </a:extLst>
              </p:cNvPr>
              <p:cNvSpPr>
                <a:spLocks noChangeShapeType="1"/>
              </p:cNvSpPr>
              <p:nvPr/>
            </p:nvSpPr>
            <p:spPr bwMode="auto">
              <a:xfrm flipH="1">
                <a:off x="2111" y="1924"/>
                <a:ext cx="129" cy="87"/>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GB" sz="1350" dirty="0"/>
              </a:p>
            </p:txBody>
          </p:sp>
          <p:sp>
            <p:nvSpPr>
              <p:cNvPr id="81" name="Freeform 56">
                <a:extLst>
                  <a:ext uri="{FF2B5EF4-FFF2-40B4-BE49-F238E27FC236}">
                    <a16:creationId xmlns:a16="http://schemas.microsoft.com/office/drawing/2014/main" id="{67735564-9832-7C72-2B8B-2C4AE540BCF7}"/>
                  </a:ext>
                </a:extLst>
              </p:cNvPr>
              <p:cNvSpPr>
                <a:spLocks/>
              </p:cNvSpPr>
              <p:nvPr/>
            </p:nvSpPr>
            <p:spPr bwMode="auto">
              <a:xfrm>
                <a:off x="2028" y="1968"/>
                <a:ext cx="129" cy="96"/>
              </a:xfrm>
              <a:custGeom>
                <a:avLst/>
                <a:gdLst>
                  <a:gd name="T0" fmla="*/ 92 w 129"/>
                  <a:gd name="T1" fmla="*/ 0 h 96"/>
                  <a:gd name="T2" fmla="*/ 0 w 129"/>
                  <a:gd name="T3" fmla="*/ 96 h 96"/>
                  <a:gd name="T4" fmla="*/ 129 w 129"/>
                  <a:gd name="T5" fmla="*/ 52 h 96"/>
                  <a:gd name="T6" fmla="*/ 92 w 129"/>
                  <a:gd name="T7" fmla="*/ 0 h 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9" h="96">
                    <a:moveTo>
                      <a:pt x="92" y="0"/>
                    </a:moveTo>
                    <a:lnTo>
                      <a:pt x="0" y="96"/>
                    </a:lnTo>
                    <a:lnTo>
                      <a:pt x="129" y="52"/>
                    </a:lnTo>
                    <a:lnTo>
                      <a:pt x="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dirty="0"/>
              </a:p>
            </p:txBody>
          </p:sp>
        </p:grpSp>
        <p:grpSp>
          <p:nvGrpSpPr>
            <p:cNvPr id="47" name="Group 60">
              <a:extLst>
                <a:ext uri="{FF2B5EF4-FFF2-40B4-BE49-F238E27FC236}">
                  <a16:creationId xmlns:a16="http://schemas.microsoft.com/office/drawing/2014/main" id="{B5DDFF97-E00D-D861-FF0E-8DCB094E7CD9}"/>
                </a:ext>
              </a:extLst>
            </p:cNvPr>
            <p:cNvGrpSpPr>
              <a:grpSpLocks/>
            </p:cNvGrpSpPr>
            <p:nvPr/>
          </p:nvGrpSpPr>
          <p:grpSpPr bwMode="auto">
            <a:xfrm>
              <a:off x="2609" y="1924"/>
              <a:ext cx="157" cy="140"/>
              <a:chOff x="2609" y="1924"/>
              <a:chExt cx="157" cy="140"/>
            </a:xfrm>
          </p:grpSpPr>
          <p:sp>
            <p:nvSpPr>
              <p:cNvPr id="78" name="Line 58">
                <a:extLst>
                  <a:ext uri="{FF2B5EF4-FFF2-40B4-BE49-F238E27FC236}">
                    <a16:creationId xmlns:a16="http://schemas.microsoft.com/office/drawing/2014/main" id="{E89477EB-7C3A-D0A1-4D7B-E23A42B53570}"/>
                  </a:ext>
                </a:extLst>
              </p:cNvPr>
              <p:cNvSpPr>
                <a:spLocks noChangeShapeType="1"/>
              </p:cNvSpPr>
              <p:nvPr/>
            </p:nvSpPr>
            <p:spPr bwMode="auto">
              <a:xfrm>
                <a:off x="2609" y="1924"/>
                <a:ext cx="65" cy="61"/>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GB" sz="1350" dirty="0"/>
              </a:p>
            </p:txBody>
          </p:sp>
          <p:sp>
            <p:nvSpPr>
              <p:cNvPr id="79" name="Freeform 59">
                <a:extLst>
                  <a:ext uri="{FF2B5EF4-FFF2-40B4-BE49-F238E27FC236}">
                    <a16:creationId xmlns:a16="http://schemas.microsoft.com/office/drawing/2014/main" id="{5B267329-485A-3909-9DFC-1B43DFE7DF73}"/>
                  </a:ext>
                </a:extLst>
              </p:cNvPr>
              <p:cNvSpPr>
                <a:spLocks/>
              </p:cNvSpPr>
              <p:nvPr/>
            </p:nvSpPr>
            <p:spPr bwMode="auto">
              <a:xfrm>
                <a:off x="2637" y="1950"/>
                <a:ext cx="129" cy="114"/>
              </a:xfrm>
              <a:custGeom>
                <a:avLst/>
                <a:gdLst>
                  <a:gd name="T0" fmla="*/ 0 w 129"/>
                  <a:gd name="T1" fmla="*/ 44 h 114"/>
                  <a:gd name="T2" fmla="*/ 129 w 129"/>
                  <a:gd name="T3" fmla="*/ 114 h 114"/>
                  <a:gd name="T4" fmla="*/ 46 w 129"/>
                  <a:gd name="T5" fmla="*/ 0 h 114"/>
                  <a:gd name="T6" fmla="*/ 0 w 129"/>
                  <a:gd name="T7" fmla="*/ 44 h 1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9" h="114">
                    <a:moveTo>
                      <a:pt x="0" y="44"/>
                    </a:moveTo>
                    <a:lnTo>
                      <a:pt x="129" y="114"/>
                    </a:lnTo>
                    <a:lnTo>
                      <a:pt x="46" y="0"/>
                    </a:lnTo>
                    <a:lnTo>
                      <a:pt x="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dirty="0"/>
              </a:p>
            </p:txBody>
          </p:sp>
        </p:grpSp>
        <p:sp>
          <p:nvSpPr>
            <p:cNvPr id="48" name="Rectangle 61">
              <a:extLst>
                <a:ext uri="{FF2B5EF4-FFF2-40B4-BE49-F238E27FC236}">
                  <a16:creationId xmlns:a16="http://schemas.microsoft.com/office/drawing/2014/main" id="{B92B519C-28B8-3709-BD23-907087FB583F}"/>
                </a:ext>
              </a:extLst>
            </p:cNvPr>
            <p:cNvSpPr>
              <a:spLocks noChangeArrowheads="1"/>
            </p:cNvSpPr>
            <p:nvPr/>
          </p:nvSpPr>
          <p:spPr bwMode="auto">
            <a:xfrm>
              <a:off x="2462" y="1223"/>
              <a:ext cx="674" cy="359"/>
            </a:xfrm>
            <a:prstGeom prst="rect">
              <a:avLst/>
            </a:prstGeom>
            <a:solidFill>
              <a:srgbClr val="99CCFF"/>
            </a:solidFill>
            <a:ln w="14288">
              <a:solidFill>
                <a:srgbClr val="000000"/>
              </a:solidFill>
              <a:miter lim="800000"/>
              <a:headEnd/>
              <a:tailEnd/>
            </a:ln>
          </p:spPr>
          <p:txBody>
            <a:bodyPr/>
            <a:lstStyle/>
            <a:p>
              <a:endParaRPr lang="en-GB" sz="1350" dirty="0"/>
            </a:p>
          </p:txBody>
        </p:sp>
        <p:sp>
          <p:nvSpPr>
            <p:cNvPr id="49" name="Rectangle 62">
              <a:extLst>
                <a:ext uri="{FF2B5EF4-FFF2-40B4-BE49-F238E27FC236}">
                  <a16:creationId xmlns:a16="http://schemas.microsoft.com/office/drawing/2014/main" id="{2ADDCC68-7D08-6267-B969-DD33EFE2C063}"/>
                </a:ext>
              </a:extLst>
            </p:cNvPr>
            <p:cNvSpPr>
              <a:spLocks noChangeArrowheads="1"/>
            </p:cNvSpPr>
            <p:nvPr/>
          </p:nvSpPr>
          <p:spPr bwMode="auto">
            <a:xfrm>
              <a:off x="2517" y="1302"/>
              <a:ext cx="47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PA slave</a:t>
              </a:r>
              <a:endParaRPr lang="en-GB" sz="1350" dirty="0"/>
            </a:p>
          </p:txBody>
        </p:sp>
        <p:sp>
          <p:nvSpPr>
            <p:cNvPr id="50" name="Rectangle 63">
              <a:extLst>
                <a:ext uri="{FF2B5EF4-FFF2-40B4-BE49-F238E27FC236}">
                  <a16:creationId xmlns:a16="http://schemas.microsoft.com/office/drawing/2014/main" id="{14A9C324-A15A-E22B-E546-F01ED9B168B3}"/>
                </a:ext>
              </a:extLst>
            </p:cNvPr>
            <p:cNvSpPr>
              <a:spLocks noChangeArrowheads="1"/>
            </p:cNvSpPr>
            <p:nvPr/>
          </p:nvSpPr>
          <p:spPr bwMode="auto">
            <a:xfrm>
              <a:off x="3089" y="1302"/>
              <a:ext cx="3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 </a:t>
              </a:r>
              <a:endParaRPr lang="en-GB" sz="1350" dirty="0"/>
            </a:p>
          </p:txBody>
        </p:sp>
        <p:sp>
          <p:nvSpPr>
            <p:cNvPr id="51" name="Rectangle 64">
              <a:extLst>
                <a:ext uri="{FF2B5EF4-FFF2-40B4-BE49-F238E27FC236}">
                  <a16:creationId xmlns:a16="http://schemas.microsoft.com/office/drawing/2014/main" id="{6D1D7785-AC26-A643-FD47-DB67F98D4E1F}"/>
                </a:ext>
              </a:extLst>
            </p:cNvPr>
            <p:cNvSpPr>
              <a:spLocks noChangeArrowheads="1"/>
            </p:cNvSpPr>
            <p:nvPr/>
          </p:nvSpPr>
          <p:spPr bwMode="auto">
            <a:xfrm>
              <a:off x="3265" y="1223"/>
              <a:ext cx="674" cy="359"/>
            </a:xfrm>
            <a:prstGeom prst="rect">
              <a:avLst/>
            </a:prstGeom>
            <a:solidFill>
              <a:srgbClr val="99CCFF"/>
            </a:solidFill>
            <a:ln w="14288">
              <a:solidFill>
                <a:srgbClr val="000000"/>
              </a:solidFill>
              <a:miter lim="800000"/>
              <a:headEnd/>
              <a:tailEnd/>
            </a:ln>
          </p:spPr>
          <p:txBody>
            <a:bodyPr/>
            <a:lstStyle/>
            <a:p>
              <a:endParaRPr lang="en-GB" sz="1350" dirty="0"/>
            </a:p>
          </p:txBody>
        </p:sp>
        <p:sp>
          <p:nvSpPr>
            <p:cNvPr id="52" name="Rectangle 65">
              <a:extLst>
                <a:ext uri="{FF2B5EF4-FFF2-40B4-BE49-F238E27FC236}">
                  <a16:creationId xmlns:a16="http://schemas.microsoft.com/office/drawing/2014/main" id="{EA8AD734-DB47-0772-58B8-99EC91D50E5B}"/>
                </a:ext>
              </a:extLst>
            </p:cNvPr>
            <p:cNvSpPr>
              <a:spLocks noChangeArrowheads="1"/>
            </p:cNvSpPr>
            <p:nvPr/>
          </p:nvSpPr>
          <p:spPr bwMode="auto">
            <a:xfrm>
              <a:off x="3320" y="1302"/>
              <a:ext cx="47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PA slave</a:t>
              </a:r>
              <a:endParaRPr lang="en-GB" sz="1350" dirty="0"/>
            </a:p>
          </p:txBody>
        </p:sp>
        <p:sp>
          <p:nvSpPr>
            <p:cNvPr id="53" name="Rectangle 66">
              <a:extLst>
                <a:ext uri="{FF2B5EF4-FFF2-40B4-BE49-F238E27FC236}">
                  <a16:creationId xmlns:a16="http://schemas.microsoft.com/office/drawing/2014/main" id="{C235C78F-E9D8-2132-0292-264377EAFF2F}"/>
                </a:ext>
              </a:extLst>
            </p:cNvPr>
            <p:cNvSpPr>
              <a:spLocks noChangeArrowheads="1"/>
            </p:cNvSpPr>
            <p:nvPr/>
          </p:nvSpPr>
          <p:spPr bwMode="auto">
            <a:xfrm>
              <a:off x="3893" y="1302"/>
              <a:ext cx="3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 </a:t>
              </a:r>
              <a:endParaRPr lang="en-GB" sz="1350" dirty="0"/>
            </a:p>
          </p:txBody>
        </p:sp>
        <p:sp>
          <p:nvSpPr>
            <p:cNvPr id="54" name="Rectangle 67">
              <a:extLst>
                <a:ext uri="{FF2B5EF4-FFF2-40B4-BE49-F238E27FC236}">
                  <a16:creationId xmlns:a16="http://schemas.microsoft.com/office/drawing/2014/main" id="{2234E2BF-934D-DD95-D24A-3721DFC78CF6}"/>
                </a:ext>
              </a:extLst>
            </p:cNvPr>
            <p:cNvSpPr>
              <a:spLocks noChangeArrowheads="1"/>
            </p:cNvSpPr>
            <p:nvPr/>
          </p:nvSpPr>
          <p:spPr bwMode="auto">
            <a:xfrm>
              <a:off x="4050" y="1223"/>
              <a:ext cx="664" cy="359"/>
            </a:xfrm>
            <a:prstGeom prst="rect">
              <a:avLst/>
            </a:prstGeom>
            <a:solidFill>
              <a:srgbClr val="99CCFF"/>
            </a:solidFill>
            <a:ln w="14288">
              <a:solidFill>
                <a:srgbClr val="000000"/>
              </a:solidFill>
              <a:miter lim="800000"/>
              <a:headEnd/>
              <a:tailEnd/>
            </a:ln>
          </p:spPr>
          <p:txBody>
            <a:bodyPr/>
            <a:lstStyle/>
            <a:p>
              <a:endParaRPr lang="en-GB" sz="1350" dirty="0"/>
            </a:p>
          </p:txBody>
        </p:sp>
        <p:sp>
          <p:nvSpPr>
            <p:cNvPr id="55" name="Rectangle 68">
              <a:extLst>
                <a:ext uri="{FF2B5EF4-FFF2-40B4-BE49-F238E27FC236}">
                  <a16:creationId xmlns:a16="http://schemas.microsoft.com/office/drawing/2014/main" id="{238D1067-82B7-F1F9-7EBE-131B5BB4483C}"/>
                </a:ext>
              </a:extLst>
            </p:cNvPr>
            <p:cNvSpPr>
              <a:spLocks noChangeArrowheads="1"/>
            </p:cNvSpPr>
            <p:nvPr/>
          </p:nvSpPr>
          <p:spPr bwMode="auto">
            <a:xfrm>
              <a:off x="4105" y="1302"/>
              <a:ext cx="47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PA slave</a:t>
              </a:r>
              <a:endParaRPr lang="en-GB" sz="1350" dirty="0"/>
            </a:p>
          </p:txBody>
        </p:sp>
        <p:sp>
          <p:nvSpPr>
            <p:cNvPr id="56" name="Rectangle 69">
              <a:extLst>
                <a:ext uri="{FF2B5EF4-FFF2-40B4-BE49-F238E27FC236}">
                  <a16:creationId xmlns:a16="http://schemas.microsoft.com/office/drawing/2014/main" id="{F3E527EE-8AB4-E367-1AC1-7664EBBE509E}"/>
                </a:ext>
              </a:extLst>
            </p:cNvPr>
            <p:cNvSpPr>
              <a:spLocks noChangeArrowheads="1"/>
            </p:cNvSpPr>
            <p:nvPr/>
          </p:nvSpPr>
          <p:spPr bwMode="auto">
            <a:xfrm>
              <a:off x="4678" y="1302"/>
              <a:ext cx="3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 </a:t>
              </a:r>
              <a:endParaRPr lang="en-GB" sz="1350" dirty="0"/>
            </a:p>
          </p:txBody>
        </p:sp>
        <p:sp>
          <p:nvSpPr>
            <p:cNvPr id="57" name="Rectangle 70">
              <a:extLst>
                <a:ext uri="{FF2B5EF4-FFF2-40B4-BE49-F238E27FC236}">
                  <a16:creationId xmlns:a16="http://schemas.microsoft.com/office/drawing/2014/main" id="{0C7210C3-69A2-67B6-88DF-DE5303C86322}"/>
                </a:ext>
              </a:extLst>
            </p:cNvPr>
            <p:cNvSpPr>
              <a:spLocks noChangeArrowheads="1"/>
            </p:cNvSpPr>
            <p:nvPr/>
          </p:nvSpPr>
          <p:spPr bwMode="auto">
            <a:xfrm>
              <a:off x="4816" y="1433"/>
              <a:ext cx="674" cy="360"/>
            </a:xfrm>
            <a:prstGeom prst="rect">
              <a:avLst/>
            </a:prstGeom>
            <a:solidFill>
              <a:srgbClr val="99CCFF"/>
            </a:solidFill>
            <a:ln w="14288">
              <a:solidFill>
                <a:srgbClr val="000000"/>
              </a:solidFill>
              <a:miter lim="800000"/>
              <a:headEnd/>
              <a:tailEnd/>
            </a:ln>
          </p:spPr>
          <p:txBody>
            <a:bodyPr/>
            <a:lstStyle/>
            <a:p>
              <a:endParaRPr lang="en-GB" sz="1350" dirty="0"/>
            </a:p>
          </p:txBody>
        </p:sp>
        <p:sp>
          <p:nvSpPr>
            <p:cNvPr id="58" name="Rectangle 71">
              <a:extLst>
                <a:ext uri="{FF2B5EF4-FFF2-40B4-BE49-F238E27FC236}">
                  <a16:creationId xmlns:a16="http://schemas.microsoft.com/office/drawing/2014/main" id="{1F98E272-7928-5FE4-4200-5F20F421C02F}"/>
                </a:ext>
              </a:extLst>
            </p:cNvPr>
            <p:cNvSpPr>
              <a:spLocks noChangeArrowheads="1"/>
            </p:cNvSpPr>
            <p:nvPr/>
          </p:nvSpPr>
          <p:spPr bwMode="auto">
            <a:xfrm>
              <a:off x="4871" y="1503"/>
              <a:ext cx="47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PA slave</a:t>
              </a:r>
              <a:endParaRPr lang="en-GB" sz="1350" dirty="0"/>
            </a:p>
          </p:txBody>
        </p:sp>
        <p:sp>
          <p:nvSpPr>
            <p:cNvPr id="59" name="Rectangle 72">
              <a:extLst>
                <a:ext uri="{FF2B5EF4-FFF2-40B4-BE49-F238E27FC236}">
                  <a16:creationId xmlns:a16="http://schemas.microsoft.com/office/drawing/2014/main" id="{E8598D8C-8055-C398-D1DC-37F62BCAB9AF}"/>
                </a:ext>
              </a:extLst>
            </p:cNvPr>
            <p:cNvSpPr>
              <a:spLocks noChangeArrowheads="1"/>
            </p:cNvSpPr>
            <p:nvPr/>
          </p:nvSpPr>
          <p:spPr bwMode="auto">
            <a:xfrm>
              <a:off x="5444" y="1503"/>
              <a:ext cx="3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 </a:t>
              </a:r>
              <a:endParaRPr lang="en-GB" sz="1350" dirty="0"/>
            </a:p>
          </p:txBody>
        </p:sp>
        <p:sp>
          <p:nvSpPr>
            <p:cNvPr id="60" name="Rectangle 73">
              <a:extLst>
                <a:ext uri="{FF2B5EF4-FFF2-40B4-BE49-F238E27FC236}">
                  <a16:creationId xmlns:a16="http://schemas.microsoft.com/office/drawing/2014/main" id="{E6F68845-A4C3-6CBB-4F69-4A132ADD4151}"/>
                </a:ext>
              </a:extLst>
            </p:cNvPr>
            <p:cNvSpPr>
              <a:spLocks noChangeArrowheads="1"/>
            </p:cNvSpPr>
            <p:nvPr/>
          </p:nvSpPr>
          <p:spPr bwMode="auto">
            <a:xfrm>
              <a:off x="4816" y="1924"/>
              <a:ext cx="674" cy="359"/>
            </a:xfrm>
            <a:prstGeom prst="rect">
              <a:avLst/>
            </a:prstGeom>
            <a:solidFill>
              <a:srgbClr val="99CCFF"/>
            </a:solidFill>
            <a:ln w="14288">
              <a:solidFill>
                <a:srgbClr val="000000"/>
              </a:solidFill>
              <a:miter lim="800000"/>
              <a:headEnd/>
              <a:tailEnd/>
            </a:ln>
          </p:spPr>
          <p:txBody>
            <a:bodyPr/>
            <a:lstStyle/>
            <a:p>
              <a:endParaRPr lang="en-GB" sz="1350" dirty="0"/>
            </a:p>
          </p:txBody>
        </p:sp>
        <p:sp>
          <p:nvSpPr>
            <p:cNvPr id="61" name="Rectangle 74">
              <a:extLst>
                <a:ext uri="{FF2B5EF4-FFF2-40B4-BE49-F238E27FC236}">
                  <a16:creationId xmlns:a16="http://schemas.microsoft.com/office/drawing/2014/main" id="{48043A24-A71F-926F-7032-80D8FD516562}"/>
                </a:ext>
              </a:extLst>
            </p:cNvPr>
            <p:cNvSpPr>
              <a:spLocks noChangeArrowheads="1"/>
            </p:cNvSpPr>
            <p:nvPr/>
          </p:nvSpPr>
          <p:spPr bwMode="auto">
            <a:xfrm>
              <a:off x="4871" y="1994"/>
              <a:ext cx="47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PA slave</a:t>
              </a:r>
              <a:endParaRPr lang="en-GB" sz="1350" dirty="0"/>
            </a:p>
          </p:txBody>
        </p:sp>
        <p:sp>
          <p:nvSpPr>
            <p:cNvPr id="62" name="Rectangle 75">
              <a:extLst>
                <a:ext uri="{FF2B5EF4-FFF2-40B4-BE49-F238E27FC236}">
                  <a16:creationId xmlns:a16="http://schemas.microsoft.com/office/drawing/2014/main" id="{4B6C3114-7844-B0EE-69AC-3A0795E02416}"/>
                </a:ext>
              </a:extLst>
            </p:cNvPr>
            <p:cNvSpPr>
              <a:spLocks noChangeArrowheads="1"/>
            </p:cNvSpPr>
            <p:nvPr/>
          </p:nvSpPr>
          <p:spPr bwMode="auto">
            <a:xfrm>
              <a:off x="5444" y="1994"/>
              <a:ext cx="3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 </a:t>
              </a:r>
              <a:endParaRPr lang="en-GB" sz="1350" dirty="0"/>
            </a:p>
          </p:txBody>
        </p:sp>
        <p:sp>
          <p:nvSpPr>
            <p:cNvPr id="63" name="Rectangle 76">
              <a:extLst>
                <a:ext uri="{FF2B5EF4-FFF2-40B4-BE49-F238E27FC236}">
                  <a16:creationId xmlns:a16="http://schemas.microsoft.com/office/drawing/2014/main" id="{36518537-9159-8B0F-F57A-141594A43F48}"/>
                </a:ext>
              </a:extLst>
            </p:cNvPr>
            <p:cNvSpPr>
              <a:spLocks noChangeArrowheads="1"/>
            </p:cNvSpPr>
            <p:nvPr/>
          </p:nvSpPr>
          <p:spPr bwMode="auto">
            <a:xfrm>
              <a:off x="4816" y="2414"/>
              <a:ext cx="674" cy="351"/>
            </a:xfrm>
            <a:prstGeom prst="rect">
              <a:avLst/>
            </a:prstGeom>
            <a:solidFill>
              <a:srgbClr val="99CCFF"/>
            </a:solidFill>
            <a:ln w="14288">
              <a:solidFill>
                <a:srgbClr val="000000"/>
              </a:solidFill>
              <a:miter lim="800000"/>
              <a:headEnd/>
              <a:tailEnd/>
            </a:ln>
          </p:spPr>
          <p:txBody>
            <a:bodyPr/>
            <a:lstStyle/>
            <a:p>
              <a:endParaRPr lang="en-GB" sz="1350" dirty="0"/>
            </a:p>
          </p:txBody>
        </p:sp>
        <p:sp>
          <p:nvSpPr>
            <p:cNvPr id="64" name="Rectangle 77">
              <a:extLst>
                <a:ext uri="{FF2B5EF4-FFF2-40B4-BE49-F238E27FC236}">
                  <a16:creationId xmlns:a16="http://schemas.microsoft.com/office/drawing/2014/main" id="{2C585961-AEDE-834D-F29A-FE61323669F7}"/>
                </a:ext>
              </a:extLst>
            </p:cNvPr>
            <p:cNvSpPr>
              <a:spLocks noChangeArrowheads="1"/>
            </p:cNvSpPr>
            <p:nvPr/>
          </p:nvSpPr>
          <p:spPr bwMode="auto">
            <a:xfrm>
              <a:off x="4871" y="2475"/>
              <a:ext cx="47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PA slave</a:t>
              </a:r>
              <a:endParaRPr lang="en-GB" sz="1350" dirty="0"/>
            </a:p>
          </p:txBody>
        </p:sp>
        <p:sp>
          <p:nvSpPr>
            <p:cNvPr id="65" name="Rectangle 78">
              <a:extLst>
                <a:ext uri="{FF2B5EF4-FFF2-40B4-BE49-F238E27FC236}">
                  <a16:creationId xmlns:a16="http://schemas.microsoft.com/office/drawing/2014/main" id="{1139AAF2-2FC6-93AB-9D07-920733916C40}"/>
                </a:ext>
              </a:extLst>
            </p:cNvPr>
            <p:cNvSpPr>
              <a:spLocks noChangeArrowheads="1"/>
            </p:cNvSpPr>
            <p:nvPr/>
          </p:nvSpPr>
          <p:spPr bwMode="auto">
            <a:xfrm>
              <a:off x="5444" y="2475"/>
              <a:ext cx="3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 </a:t>
              </a:r>
              <a:endParaRPr lang="en-GB" sz="1350" dirty="0"/>
            </a:p>
          </p:txBody>
        </p:sp>
        <p:sp>
          <p:nvSpPr>
            <p:cNvPr id="66" name="Rectangle 79">
              <a:extLst>
                <a:ext uri="{FF2B5EF4-FFF2-40B4-BE49-F238E27FC236}">
                  <a16:creationId xmlns:a16="http://schemas.microsoft.com/office/drawing/2014/main" id="{F041CD65-02ED-FEE6-8E33-264CABE57341}"/>
                </a:ext>
              </a:extLst>
            </p:cNvPr>
            <p:cNvSpPr>
              <a:spLocks noChangeArrowheads="1"/>
            </p:cNvSpPr>
            <p:nvPr/>
          </p:nvSpPr>
          <p:spPr bwMode="auto">
            <a:xfrm>
              <a:off x="4050" y="2657"/>
              <a:ext cx="664" cy="359"/>
            </a:xfrm>
            <a:prstGeom prst="rect">
              <a:avLst/>
            </a:prstGeom>
            <a:solidFill>
              <a:srgbClr val="99CCFF"/>
            </a:solidFill>
            <a:ln w="14288">
              <a:solidFill>
                <a:srgbClr val="000000"/>
              </a:solidFill>
              <a:miter lim="800000"/>
              <a:headEnd/>
              <a:tailEnd/>
            </a:ln>
          </p:spPr>
          <p:txBody>
            <a:bodyPr/>
            <a:lstStyle/>
            <a:p>
              <a:endParaRPr lang="en-GB" sz="1350" dirty="0"/>
            </a:p>
          </p:txBody>
        </p:sp>
        <p:sp>
          <p:nvSpPr>
            <p:cNvPr id="67" name="Rectangle 80">
              <a:extLst>
                <a:ext uri="{FF2B5EF4-FFF2-40B4-BE49-F238E27FC236}">
                  <a16:creationId xmlns:a16="http://schemas.microsoft.com/office/drawing/2014/main" id="{14A76C22-8159-792C-40F2-C026092C3D6D}"/>
                </a:ext>
              </a:extLst>
            </p:cNvPr>
            <p:cNvSpPr>
              <a:spLocks noChangeArrowheads="1"/>
            </p:cNvSpPr>
            <p:nvPr/>
          </p:nvSpPr>
          <p:spPr bwMode="auto">
            <a:xfrm>
              <a:off x="4105" y="2764"/>
              <a:ext cx="47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PA slave</a:t>
              </a:r>
              <a:endParaRPr lang="en-GB" sz="1350" dirty="0"/>
            </a:p>
          </p:txBody>
        </p:sp>
        <p:sp>
          <p:nvSpPr>
            <p:cNvPr id="68" name="Rectangle 81">
              <a:extLst>
                <a:ext uri="{FF2B5EF4-FFF2-40B4-BE49-F238E27FC236}">
                  <a16:creationId xmlns:a16="http://schemas.microsoft.com/office/drawing/2014/main" id="{8FA87E02-88A9-114E-23F0-ADEC0A40434F}"/>
                </a:ext>
              </a:extLst>
            </p:cNvPr>
            <p:cNvSpPr>
              <a:spLocks noChangeArrowheads="1"/>
            </p:cNvSpPr>
            <p:nvPr/>
          </p:nvSpPr>
          <p:spPr bwMode="auto">
            <a:xfrm>
              <a:off x="4678" y="2764"/>
              <a:ext cx="3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 </a:t>
              </a:r>
              <a:endParaRPr lang="en-GB" sz="1350" dirty="0"/>
            </a:p>
          </p:txBody>
        </p:sp>
        <p:sp>
          <p:nvSpPr>
            <p:cNvPr id="69" name="Rectangle 84">
              <a:extLst>
                <a:ext uri="{FF2B5EF4-FFF2-40B4-BE49-F238E27FC236}">
                  <a16:creationId xmlns:a16="http://schemas.microsoft.com/office/drawing/2014/main" id="{C38ACBF8-0134-24F8-8339-10AB38DBBC52}"/>
                </a:ext>
              </a:extLst>
            </p:cNvPr>
            <p:cNvSpPr>
              <a:spLocks noChangeArrowheads="1"/>
            </p:cNvSpPr>
            <p:nvPr/>
          </p:nvSpPr>
          <p:spPr bwMode="auto">
            <a:xfrm>
              <a:off x="3237" y="2764"/>
              <a:ext cx="3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 </a:t>
              </a:r>
              <a:endParaRPr lang="en-GB" sz="1350" dirty="0"/>
            </a:p>
          </p:txBody>
        </p:sp>
        <p:sp>
          <p:nvSpPr>
            <p:cNvPr id="70" name="Rectangle 85">
              <a:extLst>
                <a:ext uri="{FF2B5EF4-FFF2-40B4-BE49-F238E27FC236}">
                  <a16:creationId xmlns:a16="http://schemas.microsoft.com/office/drawing/2014/main" id="{81CB0486-7164-0E75-4D12-363368F45FC2}"/>
                </a:ext>
              </a:extLst>
            </p:cNvPr>
            <p:cNvSpPr>
              <a:spLocks noChangeArrowheads="1"/>
            </p:cNvSpPr>
            <p:nvPr/>
          </p:nvSpPr>
          <p:spPr bwMode="auto">
            <a:xfrm>
              <a:off x="2018" y="2659"/>
              <a:ext cx="665" cy="359"/>
            </a:xfrm>
            <a:prstGeom prst="rect">
              <a:avLst/>
            </a:prstGeom>
            <a:solidFill>
              <a:srgbClr val="99CCFF"/>
            </a:solidFill>
            <a:ln w="14288">
              <a:solidFill>
                <a:srgbClr val="000000"/>
              </a:solidFill>
              <a:miter lim="800000"/>
              <a:headEnd/>
              <a:tailEnd/>
            </a:ln>
          </p:spPr>
          <p:txBody>
            <a:bodyPr/>
            <a:lstStyle/>
            <a:p>
              <a:endParaRPr lang="en-GB" sz="1350" dirty="0"/>
            </a:p>
          </p:txBody>
        </p:sp>
        <p:sp>
          <p:nvSpPr>
            <p:cNvPr id="71" name="Rectangle 86">
              <a:extLst>
                <a:ext uri="{FF2B5EF4-FFF2-40B4-BE49-F238E27FC236}">
                  <a16:creationId xmlns:a16="http://schemas.microsoft.com/office/drawing/2014/main" id="{6AA4B672-D081-2357-B3E7-1396BC8F3C9C}"/>
                </a:ext>
              </a:extLst>
            </p:cNvPr>
            <p:cNvSpPr>
              <a:spLocks noChangeArrowheads="1"/>
            </p:cNvSpPr>
            <p:nvPr/>
          </p:nvSpPr>
          <p:spPr bwMode="auto">
            <a:xfrm>
              <a:off x="2071" y="2764"/>
              <a:ext cx="47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PA slave</a:t>
              </a:r>
              <a:endParaRPr lang="en-GB" sz="1350" dirty="0"/>
            </a:p>
          </p:txBody>
        </p:sp>
        <p:sp>
          <p:nvSpPr>
            <p:cNvPr id="72" name="Rectangle 87">
              <a:extLst>
                <a:ext uri="{FF2B5EF4-FFF2-40B4-BE49-F238E27FC236}">
                  <a16:creationId xmlns:a16="http://schemas.microsoft.com/office/drawing/2014/main" id="{83E0F320-F1D3-0B96-E9B2-691AAC87058E}"/>
                </a:ext>
              </a:extLst>
            </p:cNvPr>
            <p:cNvSpPr>
              <a:spLocks noChangeArrowheads="1"/>
            </p:cNvSpPr>
            <p:nvPr/>
          </p:nvSpPr>
          <p:spPr bwMode="auto">
            <a:xfrm>
              <a:off x="2138" y="2764"/>
              <a:ext cx="3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 </a:t>
              </a:r>
              <a:endParaRPr lang="en-GB" sz="1350" dirty="0"/>
            </a:p>
          </p:txBody>
        </p:sp>
        <p:sp>
          <p:nvSpPr>
            <p:cNvPr id="73" name="Rectangle 88">
              <a:extLst>
                <a:ext uri="{FF2B5EF4-FFF2-40B4-BE49-F238E27FC236}">
                  <a16:creationId xmlns:a16="http://schemas.microsoft.com/office/drawing/2014/main" id="{5B955B52-9222-F671-2BAA-6B044F517AFC}"/>
                </a:ext>
              </a:extLst>
            </p:cNvPr>
            <p:cNvSpPr>
              <a:spLocks noChangeArrowheads="1"/>
            </p:cNvSpPr>
            <p:nvPr/>
          </p:nvSpPr>
          <p:spPr bwMode="auto">
            <a:xfrm>
              <a:off x="3198" y="2115"/>
              <a:ext cx="19" cy="762"/>
            </a:xfrm>
            <a:prstGeom prst="rect">
              <a:avLst/>
            </a:prstGeom>
            <a:solidFill>
              <a:srgbClr val="0000FF"/>
            </a:solidFill>
            <a:ln w="9525">
              <a:solidFill>
                <a:srgbClr val="000000"/>
              </a:solidFill>
              <a:miter lim="800000"/>
              <a:headEnd/>
              <a:tailEnd/>
            </a:ln>
          </p:spPr>
          <p:txBody>
            <a:bodyPr/>
            <a:lstStyle/>
            <a:p>
              <a:endParaRPr lang="en-GB" sz="1350" dirty="0"/>
            </a:p>
          </p:txBody>
        </p:sp>
        <p:sp>
          <p:nvSpPr>
            <p:cNvPr id="74" name="Rectangle 89">
              <a:extLst>
                <a:ext uri="{FF2B5EF4-FFF2-40B4-BE49-F238E27FC236}">
                  <a16:creationId xmlns:a16="http://schemas.microsoft.com/office/drawing/2014/main" id="{BCA1AAFA-ED81-B6BB-20D2-BC44A024C7AF}"/>
                </a:ext>
              </a:extLst>
            </p:cNvPr>
            <p:cNvSpPr>
              <a:spLocks noChangeArrowheads="1"/>
            </p:cNvSpPr>
            <p:nvPr/>
          </p:nvSpPr>
          <p:spPr bwMode="auto">
            <a:xfrm>
              <a:off x="3134" y="2045"/>
              <a:ext cx="157" cy="149"/>
            </a:xfrm>
            <a:prstGeom prst="rect">
              <a:avLst/>
            </a:prstGeom>
            <a:solidFill>
              <a:srgbClr val="C0C0C0"/>
            </a:solidFill>
            <a:ln w="14288">
              <a:solidFill>
                <a:srgbClr val="000000"/>
              </a:solidFill>
              <a:miter lim="800000"/>
              <a:headEnd/>
              <a:tailEnd/>
            </a:ln>
          </p:spPr>
          <p:txBody>
            <a:bodyPr/>
            <a:lstStyle/>
            <a:p>
              <a:endParaRPr lang="en-GB" sz="1350" dirty="0"/>
            </a:p>
          </p:txBody>
        </p:sp>
        <p:grpSp>
          <p:nvGrpSpPr>
            <p:cNvPr id="75" name="Group 90">
              <a:extLst>
                <a:ext uri="{FF2B5EF4-FFF2-40B4-BE49-F238E27FC236}">
                  <a16:creationId xmlns:a16="http://schemas.microsoft.com/office/drawing/2014/main" id="{0B486B1A-1EA3-91AB-F7C2-D9C5832FC0E7}"/>
                </a:ext>
              </a:extLst>
            </p:cNvPr>
            <p:cNvGrpSpPr>
              <a:grpSpLocks/>
            </p:cNvGrpSpPr>
            <p:nvPr/>
          </p:nvGrpSpPr>
          <p:grpSpPr bwMode="auto">
            <a:xfrm>
              <a:off x="2835" y="2659"/>
              <a:ext cx="674" cy="359"/>
              <a:chOff x="2835" y="2659"/>
              <a:chExt cx="674" cy="359"/>
            </a:xfrm>
          </p:grpSpPr>
          <p:sp>
            <p:nvSpPr>
              <p:cNvPr id="76" name="Rectangle 82">
                <a:extLst>
                  <a:ext uri="{FF2B5EF4-FFF2-40B4-BE49-F238E27FC236}">
                    <a16:creationId xmlns:a16="http://schemas.microsoft.com/office/drawing/2014/main" id="{FED7F96D-DF72-605C-FF4C-93109DEF88A5}"/>
                  </a:ext>
                </a:extLst>
              </p:cNvPr>
              <p:cNvSpPr>
                <a:spLocks noChangeArrowheads="1"/>
              </p:cNvSpPr>
              <p:nvPr/>
            </p:nvSpPr>
            <p:spPr bwMode="auto">
              <a:xfrm>
                <a:off x="2835" y="2659"/>
                <a:ext cx="674" cy="359"/>
              </a:xfrm>
              <a:prstGeom prst="rect">
                <a:avLst/>
              </a:prstGeom>
              <a:solidFill>
                <a:srgbClr val="99CCFF"/>
              </a:solidFill>
              <a:ln w="14288">
                <a:solidFill>
                  <a:srgbClr val="000000"/>
                </a:solidFill>
                <a:miter lim="800000"/>
                <a:headEnd/>
                <a:tailEnd/>
              </a:ln>
            </p:spPr>
            <p:txBody>
              <a:bodyPr/>
              <a:lstStyle/>
              <a:p>
                <a:endParaRPr lang="en-GB" sz="1350" dirty="0"/>
              </a:p>
            </p:txBody>
          </p:sp>
          <p:sp>
            <p:nvSpPr>
              <p:cNvPr id="77" name="Rectangle 83">
                <a:extLst>
                  <a:ext uri="{FF2B5EF4-FFF2-40B4-BE49-F238E27FC236}">
                    <a16:creationId xmlns:a16="http://schemas.microsoft.com/office/drawing/2014/main" id="{9E317C2A-5B5D-9D3A-B0F1-05BA54E4E602}"/>
                  </a:ext>
                </a:extLst>
              </p:cNvPr>
              <p:cNvSpPr>
                <a:spLocks noChangeArrowheads="1"/>
              </p:cNvSpPr>
              <p:nvPr/>
            </p:nvSpPr>
            <p:spPr bwMode="auto">
              <a:xfrm>
                <a:off x="2880" y="2750"/>
                <a:ext cx="47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50" dirty="0">
                    <a:solidFill>
                      <a:srgbClr val="000000"/>
                    </a:solidFill>
                  </a:rPr>
                  <a:t>PA slave</a:t>
                </a:r>
                <a:endParaRPr lang="en-GB" sz="1350" dirty="0"/>
              </a:p>
            </p:txBody>
          </p:sp>
        </p:grpSp>
      </p:grpSp>
      <p:sp>
        <p:nvSpPr>
          <p:cNvPr id="82" name="Text Box 14">
            <a:extLst>
              <a:ext uri="{FF2B5EF4-FFF2-40B4-BE49-F238E27FC236}">
                <a16:creationId xmlns:a16="http://schemas.microsoft.com/office/drawing/2014/main" id="{A71B6A2E-9023-819F-003E-494C02EA3E9F}"/>
              </a:ext>
            </a:extLst>
          </p:cNvPr>
          <p:cNvSpPr txBox="1">
            <a:spLocks noChangeArrowheads="1"/>
          </p:cNvSpPr>
          <p:nvPr/>
        </p:nvSpPr>
        <p:spPr bwMode="auto">
          <a:xfrm>
            <a:off x="2536928" y="2667869"/>
            <a:ext cx="247650" cy="33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algn="ctr"/>
            <a:r>
              <a:rPr lang="en-GB" sz="1500" b="1" dirty="0">
                <a:solidFill>
                  <a:srgbClr val="000000"/>
                </a:solidFill>
                <a:latin typeface="+mn-lt"/>
              </a:rPr>
              <a:t>T</a:t>
            </a:r>
          </a:p>
        </p:txBody>
      </p:sp>
      <p:grpSp>
        <p:nvGrpSpPr>
          <p:cNvPr id="83" name="Group 94">
            <a:extLst>
              <a:ext uri="{FF2B5EF4-FFF2-40B4-BE49-F238E27FC236}">
                <a16:creationId xmlns:a16="http://schemas.microsoft.com/office/drawing/2014/main" id="{74F1E80C-D529-86C3-D175-55EA3905BF15}"/>
              </a:ext>
            </a:extLst>
          </p:cNvPr>
          <p:cNvGrpSpPr>
            <a:grpSpLocks/>
          </p:cNvGrpSpPr>
          <p:nvPr/>
        </p:nvGrpSpPr>
        <p:grpSpPr bwMode="auto">
          <a:xfrm>
            <a:off x="2241654" y="2954484"/>
            <a:ext cx="1410890" cy="1764506"/>
            <a:chOff x="645" y="2283"/>
            <a:chExt cx="1185" cy="1482"/>
          </a:xfrm>
        </p:grpSpPr>
        <p:sp>
          <p:nvSpPr>
            <p:cNvPr id="84" name="Text Box 13">
              <a:extLst>
                <a:ext uri="{FF2B5EF4-FFF2-40B4-BE49-F238E27FC236}">
                  <a16:creationId xmlns:a16="http://schemas.microsoft.com/office/drawing/2014/main" id="{6005EB5E-C9D1-876C-20D8-E19EF49FE86B}"/>
                </a:ext>
              </a:extLst>
            </p:cNvPr>
            <p:cNvSpPr txBox="1">
              <a:spLocks noChangeArrowheads="1"/>
            </p:cNvSpPr>
            <p:nvPr/>
          </p:nvSpPr>
          <p:spPr bwMode="auto">
            <a:xfrm>
              <a:off x="645" y="3198"/>
              <a:ext cx="1185" cy="567"/>
            </a:xfrm>
            <a:prstGeom prst="rect">
              <a:avLst/>
            </a:prstGeom>
            <a:solidFill>
              <a:srgbClr val="FFFF99"/>
            </a:solidFill>
            <a:ln w="12700">
              <a:solidFill>
                <a:srgbClr val="000000"/>
              </a:solidFill>
              <a:miter lim="800000"/>
              <a:headEnd/>
              <a:tailEnd/>
            </a:ln>
          </p:spPr>
          <p:txBody>
            <a:bodyPr lIns="13500" tIns="13500" rIns="13500" bIns="13500"/>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algn="ctr"/>
              <a:r>
                <a:rPr lang="en-GB" sz="1350" dirty="0">
                  <a:solidFill>
                    <a:srgbClr val="000000"/>
                  </a:solidFill>
                  <a:latin typeface="+mn-lt"/>
                </a:rPr>
                <a:t>Termination</a:t>
              </a:r>
            </a:p>
            <a:p>
              <a:pPr algn="ctr"/>
              <a:r>
                <a:rPr lang="en-GB" sz="1350" dirty="0">
                  <a:solidFill>
                    <a:srgbClr val="000000"/>
                  </a:solidFill>
                  <a:latin typeface="+mn-lt"/>
                </a:rPr>
                <a:t>normally built in to coupler</a:t>
              </a:r>
            </a:p>
          </p:txBody>
        </p:sp>
        <p:sp>
          <p:nvSpPr>
            <p:cNvPr id="85" name="Line 15">
              <a:extLst>
                <a:ext uri="{FF2B5EF4-FFF2-40B4-BE49-F238E27FC236}">
                  <a16:creationId xmlns:a16="http://schemas.microsoft.com/office/drawing/2014/main" id="{60B65222-26F2-27C5-ECC0-D9FF4413DF5B}"/>
                </a:ext>
              </a:extLst>
            </p:cNvPr>
            <p:cNvSpPr>
              <a:spLocks noChangeShapeType="1"/>
            </p:cNvSpPr>
            <p:nvPr/>
          </p:nvSpPr>
          <p:spPr bwMode="auto">
            <a:xfrm flipH="1" flipV="1">
              <a:off x="1162" y="2283"/>
              <a:ext cx="48" cy="912"/>
            </a:xfrm>
            <a:prstGeom prst="line">
              <a:avLst/>
            </a:prstGeom>
            <a:noFill/>
            <a:ln w="28575">
              <a:solidFill>
                <a:schemeClr val="tx1"/>
              </a:solidFill>
              <a:round/>
              <a:headEnd type="none" w="sm" len="sm"/>
              <a:tailEnd type="triangle" w="sm"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dirty="0"/>
            </a:p>
          </p:txBody>
        </p:sp>
      </p:grpSp>
      <p:sp>
        <p:nvSpPr>
          <p:cNvPr id="86" name="Text Box 14">
            <a:extLst>
              <a:ext uri="{FF2B5EF4-FFF2-40B4-BE49-F238E27FC236}">
                <a16:creationId xmlns:a16="http://schemas.microsoft.com/office/drawing/2014/main" id="{9C92E168-B5EE-5553-F24E-CF6F63160944}"/>
              </a:ext>
            </a:extLst>
          </p:cNvPr>
          <p:cNvSpPr txBox="1">
            <a:spLocks noChangeArrowheads="1"/>
          </p:cNvSpPr>
          <p:nvPr/>
        </p:nvSpPr>
        <p:spPr bwMode="auto">
          <a:xfrm>
            <a:off x="1980907" y="2229498"/>
            <a:ext cx="247650" cy="33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algn="ctr"/>
            <a:r>
              <a:rPr lang="en-GB" sz="1500" b="1" dirty="0">
                <a:solidFill>
                  <a:srgbClr val="000000"/>
                </a:solidFill>
                <a:latin typeface="+mn-lt"/>
              </a:rPr>
              <a:t>T</a:t>
            </a:r>
          </a:p>
        </p:txBody>
      </p:sp>
      <p:sp>
        <p:nvSpPr>
          <p:cNvPr id="87" name="Title 2">
            <a:extLst>
              <a:ext uri="{FF2B5EF4-FFF2-40B4-BE49-F238E27FC236}">
                <a16:creationId xmlns:a16="http://schemas.microsoft.com/office/drawing/2014/main" id="{6AE63284-A586-F243-59EE-F87D81C35241}"/>
              </a:ext>
            </a:extLst>
          </p:cNvPr>
          <p:cNvSpPr txBox="1">
            <a:spLocks/>
          </p:cNvSpPr>
          <p:nvPr/>
        </p:nvSpPr>
        <p:spPr>
          <a:xfrm>
            <a:off x="635285" y="122311"/>
            <a:ext cx="7886700" cy="413654"/>
          </a:xfrm>
          <a:prstGeom prst="rect">
            <a:avLst/>
          </a:prstGeom>
        </p:spPr>
        <p:txBody>
          <a:bodyPr vert="horz" lIns="91440" tIns="45720" rIns="91440" bIns="45720" rtlCol="0" anchor="ctr">
            <a:noAutofit/>
          </a:bodyPr>
          <a:lstStyle>
            <a:lvl1pPr algn="ctr" defTabSz="685800" rtl="0" eaLnBrk="1" latinLnBrk="0" hangingPunct="1">
              <a:lnSpc>
                <a:spcPct val="90000"/>
              </a:lnSpc>
              <a:spcBef>
                <a:spcPct val="0"/>
              </a:spcBef>
              <a:buNone/>
              <a:defRPr sz="3300" kern="1200">
                <a:solidFill>
                  <a:srgbClr val="043D5D"/>
                </a:solidFill>
                <a:latin typeface="+mj-lt"/>
                <a:ea typeface="+mj-ea"/>
                <a:cs typeface="+mj-cs"/>
              </a:defRPr>
            </a:lvl1pPr>
          </a:lstStyle>
          <a:p>
            <a:r>
              <a:rPr lang="en-US" dirty="0"/>
              <a:t>PROFIBUS PA – Topology</a:t>
            </a:r>
            <a:endParaRPr lang="en-GB" dirty="0"/>
          </a:p>
        </p:txBody>
      </p:sp>
      <p:sp>
        <p:nvSpPr>
          <p:cNvPr id="2" name="TextBox 1">
            <a:extLst>
              <a:ext uri="{FF2B5EF4-FFF2-40B4-BE49-F238E27FC236}">
                <a16:creationId xmlns:a16="http://schemas.microsoft.com/office/drawing/2014/main" id="{8DD4730A-D0B7-AFF0-6D6A-63B9BB30E58B}"/>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4499884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A44C9F-62BA-C82B-F1FD-F6D7B65FAEDF}"/>
              </a:ext>
            </a:extLst>
          </p:cNvPr>
          <p:cNvSpPr>
            <a:spLocks noGrp="1"/>
          </p:cNvSpPr>
          <p:nvPr>
            <p:ph type="title"/>
          </p:nvPr>
        </p:nvSpPr>
        <p:spPr>
          <a:xfrm>
            <a:off x="1793717" y="177751"/>
            <a:ext cx="7886700" cy="413654"/>
          </a:xfrm>
        </p:spPr>
        <p:txBody>
          <a:bodyPr/>
          <a:lstStyle/>
          <a:p>
            <a:r>
              <a:rPr lang="en-US" sz="2400" dirty="0"/>
              <a:t>PROFIBUS PA - Cabling</a:t>
            </a:r>
            <a:endParaRPr lang="en-GB" sz="2400" dirty="0"/>
          </a:p>
        </p:txBody>
      </p:sp>
      <p:sp>
        <p:nvSpPr>
          <p:cNvPr id="8" name="Content Placeholder 7">
            <a:extLst>
              <a:ext uri="{FF2B5EF4-FFF2-40B4-BE49-F238E27FC236}">
                <a16:creationId xmlns:a16="http://schemas.microsoft.com/office/drawing/2014/main" id="{DB73D6D9-2EF0-B44B-9B28-D5CE8985BFC7}"/>
              </a:ext>
            </a:extLst>
          </p:cNvPr>
          <p:cNvSpPr>
            <a:spLocks noGrp="1"/>
          </p:cNvSpPr>
          <p:nvPr>
            <p:ph idx="1"/>
          </p:nvPr>
        </p:nvSpPr>
        <p:spPr>
          <a:xfrm>
            <a:off x="489754" y="842348"/>
            <a:ext cx="8326586" cy="3263504"/>
          </a:xfrm>
        </p:spPr>
        <p:txBody>
          <a:bodyPr/>
          <a:lstStyle/>
          <a:p>
            <a:r>
              <a:rPr lang="en-US" sz="2000" dirty="0"/>
              <a:t>Every segment of a safe-area PROFIBUS PA network uses two-core twisted pair / screened cable to carry both power and data to each device.</a:t>
            </a:r>
          </a:p>
          <a:p>
            <a:r>
              <a:rPr lang="en-US" sz="2000" dirty="0"/>
              <a:t>The total length of cable in every safe-area segment must not exceed 1.9Km, including the lengths of the drops down to each instrument.</a:t>
            </a:r>
          </a:p>
          <a:p>
            <a:r>
              <a:rPr lang="en-US" sz="2000" dirty="0"/>
              <a:t>You can have up to 32 devices in a safe-area segment, but length drops can reduce this to as low as 12.</a:t>
            </a:r>
            <a:endParaRPr lang="en-GB" sz="2000" dirty="0"/>
          </a:p>
        </p:txBody>
      </p:sp>
      <p:graphicFrame>
        <p:nvGraphicFramePr>
          <p:cNvPr id="9" name="Group 83">
            <a:extLst>
              <a:ext uri="{FF2B5EF4-FFF2-40B4-BE49-F238E27FC236}">
                <a16:creationId xmlns:a16="http://schemas.microsoft.com/office/drawing/2014/main" id="{43F61C8E-66B7-917F-8316-F3DCDBDEB4C7}"/>
              </a:ext>
            </a:extLst>
          </p:cNvPr>
          <p:cNvGraphicFramePr>
            <a:graphicFrameLocks noGrp="1"/>
          </p:cNvGraphicFramePr>
          <p:nvPr>
            <p:extLst>
              <p:ext uri="{D42A27DB-BD31-4B8C-83A1-F6EECF244321}">
                <p14:modId xmlns:p14="http://schemas.microsoft.com/office/powerpoint/2010/main" val="2814236048"/>
              </p:ext>
            </p:extLst>
          </p:nvPr>
        </p:nvGraphicFramePr>
        <p:xfrm>
          <a:off x="1996492" y="3012431"/>
          <a:ext cx="5313109" cy="1482328"/>
        </p:xfrm>
        <a:graphic>
          <a:graphicData uri="http://schemas.openxmlformats.org/drawingml/2006/table">
            <a:tbl>
              <a:tblPr/>
              <a:tblGrid>
                <a:gridCol w="1525870">
                  <a:extLst>
                    <a:ext uri="{9D8B030D-6E8A-4147-A177-3AD203B41FA5}">
                      <a16:colId xmlns:a16="http://schemas.microsoft.com/office/drawing/2014/main" val="20000"/>
                    </a:ext>
                  </a:extLst>
                </a:gridCol>
                <a:gridCol w="3787239">
                  <a:extLst>
                    <a:ext uri="{9D8B030D-6E8A-4147-A177-3AD203B41FA5}">
                      <a16:colId xmlns:a16="http://schemas.microsoft.com/office/drawing/2014/main" val="20001"/>
                    </a:ext>
                  </a:extLst>
                </a:gridCol>
              </a:tblGrid>
              <a:tr h="378618">
                <a:tc>
                  <a:txBody>
                    <a:bodyPr/>
                    <a:lstStyle/>
                    <a:p>
                      <a:pPr marL="0" marR="0" lvl="0" indent="0" algn="l" defTabSz="914400" rtl="0" eaLnBrk="1" fontAlgn="base" latinLnBrk="0" hangingPunct="1">
                        <a:lnSpc>
                          <a:spcPct val="100000"/>
                        </a:lnSpc>
                        <a:spcBef>
                          <a:spcPct val="20000"/>
                        </a:spcBef>
                        <a:spcAft>
                          <a:spcPct val="20000"/>
                        </a:spcAft>
                        <a:buClrTx/>
                        <a:buSzTx/>
                        <a:buFont typeface="Wingdings" pitchFamily="2" charset="2"/>
                        <a:buNone/>
                        <a:tabLst/>
                      </a:pPr>
                      <a:r>
                        <a:rPr kumimoji="0" lang="en-GB" sz="1500" b="0" i="0" u="none" strike="noStrike" cap="none" normalizeH="0" baseline="0" dirty="0">
                          <a:ln>
                            <a:noFill/>
                          </a:ln>
                          <a:solidFill>
                            <a:schemeClr val="tx1"/>
                          </a:solidFill>
                          <a:effectLst/>
                          <a:latin typeface="+mn-lt"/>
                          <a:cs typeface="Times New Roman" pitchFamily="18" charset="0"/>
                        </a:rPr>
                        <a:t>Construction</a:t>
                      </a:r>
                    </a:p>
                  </a:txBody>
                  <a:tcPr marL="68580" marR="68580" marT="34290" marB="34290" anchor="ctr" horzOverflow="overflow">
                    <a:lnL w="28575"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20000"/>
                        </a:spcAft>
                        <a:buClrTx/>
                        <a:buSzTx/>
                        <a:buFont typeface="Wingdings" pitchFamily="2" charset="2"/>
                        <a:buNone/>
                        <a:tabLst/>
                      </a:pPr>
                      <a:r>
                        <a:rPr kumimoji="0" lang="en-GB" sz="1500" b="0" i="0" u="none" strike="noStrike" cap="none" normalizeH="0" baseline="0" dirty="0">
                          <a:ln>
                            <a:noFill/>
                          </a:ln>
                          <a:solidFill>
                            <a:schemeClr val="tx1"/>
                          </a:solidFill>
                          <a:effectLst/>
                          <a:latin typeface="+mn-lt"/>
                        </a:rPr>
                        <a:t>Shielded twisted pair</a:t>
                      </a:r>
                    </a:p>
                  </a:txBody>
                  <a:tcPr marL="68580" marR="68580" marT="34290" marB="34290" anchor="ctr" horzOverflow="overflow">
                    <a:lnL w="28575"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0"/>
                  </a:ext>
                </a:extLst>
              </a:tr>
              <a:tr h="377428">
                <a:tc>
                  <a:txBody>
                    <a:bodyPr/>
                    <a:lstStyle/>
                    <a:p>
                      <a:pPr marL="0" marR="0" lvl="0" indent="0" algn="l" defTabSz="914400" rtl="0" eaLnBrk="1" fontAlgn="base" latinLnBrk="0" hangingPunct="1">
                        <a:lnSpc>
                          <a:spcPct val="100000"/>
                        </a:lnSpc>
                        <a:spcBef>
                          <a:spcPct val="20000"/>
                        </a:spcBef>
                        <a:spcAft>
                          <a:spcPct val="20000"/>
                        </a:spcAft>
                        <a:buClrTx/>
                        <a:buSzTx/>
                        <a:buFont typeface="Wingdings" pitchFamily="2" charset="2"/>
                        <a:buNone/>
                        <a:tabLst/>
                      </a:pPr>
                      <a:r>
                        <a:rPr kumimoji="0" lang="en-GB" sz="1500" b="0" i="0" u="none" strike="noStrike" cap="none" normalizeH="0" baseline="0" dirty="0">
                          <a:ln>
                            <a:noFill/>
                          </a:ln>
                          <a:solidFill>
                            <a:schemeClr val="tx1"/>
                          </a:solidFill>
                          <a:effectLst/>
                          <a:latin typeface="+mn-lt"/>
                          <a:cs typeface="Times New Roman" pitchFamily="18" charset="0"/>
                        </a:rPr>
                        <a:t>Conductor area</a:t>
                      </a:r>
                    </a:p>
                  </a:txBody>
                  <a:tcPr marL="68580" marR="68580" marT="34290" marB="34290" anchor="ctr" horzOverflow="overflow">
                    <a:lnL w="28575"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20000"/>
                        </a:spcAft>
                        <a:buClrTx/>
                        <a:buSzTx/>
                        <a:buFont typeface="Wingdings" pitchFamily="2" charset="2"/>
                        <a:buNone/>
                        <a:tabLst/>
                      </a:pPr>
                      <a:r>
                        <a:rPr kumimoji="0" lang="en-GB" sz="1500" b="0" i="0" u="none" strike="noStrike" cap="none" normalizeH="0" baseline="0" dirty="0">
                          <a:ln>
                            <a:noFill/>
                          </a:ln>
                          <a:solidFill>
                            <a:schemeClr val="tx1"/>
                          </a:solidFill>
                          <a:effectLst/>
                          <a:latin typeface="+mn-lt"/>
                          <a:cs typeface="Times New Roman" pitchFamily="18" charset="0"/>
                        </a:rPr>
                        <a:t>0.8 mm</a:t>
                      </a:r>
                      <a:r>
                        <a:rPr kumimoji="0" lang="en-GB" sz="1500" b="0" i="0" u="none" strike="noStrike" cap="none" normalizeH="0" baseline="30000" dirty="0">
                          <a:ln>
                            <a:noFill/>
                          </a:ln>
                          <a:solidFill>
                            <a:schemeClr val="tx1"/>
                          </a:solidFill>
                          <a:effectLst/>
                          <a:latin typeface="+mn-lt"/>
                          <a:cs typeface="Times New Roman" pitchFamily="18" charset="0"/>
                        </a:rPr>
                        <a:t>2</a:t>
                      </a:r>
                      <a:endParaRPr kumimoji="0" lang="en-GB" sz="1500" b="0" i="0" u="none" strike="noStrike" cap="none" normalizeH="0" baseline="0" dirty="0">
                        <a:ln>
                          <a:noFill/>
                        </a:ln>
                        <a:solidFill>
                          <a:schemeClr val="tx1"/>
                        </a:solidFill>
                        <a:effectLst/>
                        <a:latin typeface="+mn-lt"/>
                        <a:cs typeface="Times New Roman" pitchFamily="18" charset="0"/>
                      </a:endParaRPr>
                    </a:p>
                  </a:txBody>
                  <a:tcPr marL="68580" marR="68580" marT="34290" marB="34290" anchor="ctr" horzOverflow="overflow">
                    <a:lnL w="28575"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1"/>
                  </a:ext>
                </a:extLst>
              </a:tr>
              <a:tr h="377428">
                <a:tc>
                  <a:txBody>
                    <a:bodyPr/>
                    <a:lstStyle/>
                    <a:p>
                      <a:pPr marL="0" marR="0" lvl="0" indent="0" algn="l" defTabSz="914400" rtl="0" eaLnBrk="1" fontAlgn="base" latinLnBrk="0" hangingPunct="1">
                        <a:lnSpc>
                          <a:spcPct val="100000"/>
                        </a:lnSpc>
                        <a:spcBef>
                          <a:spcPct val="20000"/>
                        </a:spcBef>
                        <a:spcAft>
                          <a:spcPct val="20000"/>
                        </a:spcAft>
                        <a:buClrTx/>
                        <a:buSzTx/>
                        <a:buFont typeface="Wingdings" pitchFamily="2" charset="2"/>
                        <a:buNone/>
                        <a:tabLst/>
                      </a:pPr>
                      <a:r>
                        <a:rPr kumimoji="0" lang="en-GB" sz="1500" b="0" i="0" u="none" strike="noStrike" cap="none" normalizeH="0" baseline="0" dirty="0">
                          <a:ln>
                            <a:noFill/>
                          </a:ln>
                          <a:solidFill>
                            <a:schemeClr val="tx1"/>
                          </a:solidFill>
                          <a:effectLst/>
                          <a:latin typeface="+mn-lt"/>
                          <a:cs typeface="Times New Roman" pitchFamily="18" charset="0"/>
                        </a:rPr>
                        <a:t>Impedance</a:t>
                      </a:r>
                    </a:p>
                  </a:txBody>
                  <a:tcPr marL="68580" marR="68580" marT="34290" marB="34290" anchor="ctr" horzOverflow="overflow">
                    <a:lnL w="28575"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20000"/>
                        </a:spcAft>
                        <a:buClrTx/>
                        <a:buSzTx/>
                        <a:buFont typeface="Wingdings" pitchFamily="2" charset="2"/>
                        <a:buNone/>
                        <a:tabLst/>
                      </a:pPr>
                      <a:r>
                        <a:rPr kumimoji="0" lang="en-GB" sz="1500" b="0" i="0" u="none" strike="noStrike" cap="none" normalizeH="0" baseline="0" dirty="0">
                          <a:ln>
                            <a:noFill/>
                          </a:ln>
                          <a:solidFill>
                            <a:schemeClr val="tx1"/>
                          </a:solidFill>
                          <a:effectLst/>
                          <a:latin typeface="+mn-lt"/>
                          <a:cs typeface="Times New Roman" pitchFamily="18" charset="0"/>
                        </a:rPr>
                        <a:t>100 </a:t>
                      </a:r>
                      <a:r>
                        <a:rPr kumimoji="0" lang="en-GB" sz="1500" b="0" i="0" u="none" strike="noStrike" cap="none" normalizeH="0" baseline="0" dirty="0">
                          <a:ln>
                            <a:noFill/>
                          </a:ln>
                          <a:solidFill>
                            <a:schemeClr val="tx1"/>
                          </a:solidFill>
                          <a:effectLst/>
                          <a:latin typeface="+mn-lt"/>
                          <a:cs typeface="Times New Roman" pitchFamily="18" charset="0"/>
                          <a:sym typeface="Symbol" pitchFamily="18" charset="2"/>
                        </a:rPr>
                        <a:t></a:t>
                      </a:r>
                      <a:r>
                        <a:rPr kumimoji="0" lang="en-GB" sz="1500" b="0" i="0" u="none" strike="noStrike" cap="none" normalizeH="0" baseline="0" dirty="0">
                          <a:ln>
                            <a:noFill/>
                          </a:ln>
                          <a:solidFill>
                            <a:schemeClr val="tx1"/>
                          </a:solidFill>
                          <a:effectLst/>
                          <a:latin typeface="+mn-lt"/>
                          <a:cs typeface="Times New Roman" pitchFamily="18" charset="0"/>
                        </a:rPr>
                        <a:t> ±20% at a frequency of 31.25kHz</a:t>
                      </a:r>
                      <a:endParaRPr kumimoji="0" lang="en-GB" sz="1500" b="0" i="0" u="none" strike="noStrike" cap="none" normalizeH="0" baseline="0" dirty="0">
                        <a:ln>
                          <a:noFill/>
                        </a:ln>
                        <a:solidFill>
                          <a:schemeClr val="tx1"/>
                        </a:solidFill>
                        <a:effectLst/>
                        <a:latin typeface="+mn-lt"/>
                      </a:endParaRPr>
                    </a:p>
                  </a:txBody>
                  <a:tcPr marL="68580" marR="68580" marT="34290" marB="34290" anchor="ctr" horzOverflow="overflow">
                    <a:lnL w="28575"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2"/>
                  </a:ext>
                </a:extLst>
              </a:tr>
              <a:tr h="348854">
                <a:tc>
                  <a:txBody>
                    <a:bodyPr/>
                    <a:lstStyle/>
                    <a:p>
                      <a:pPr marL="0" marR="0" lvl="0" indent="0" algn="l" defTabSz="914400" rtl="0" eaLnBrk="1" fontAlgn="base" latinLnBrk="0" hangingPunct="1">
                        <a:lnSpc>
                          <a:spcPct val="100000"/>
                        </a:lnSpc>
                        <a:spcBef>
                          <a:spcPct val="20000"/>
                        </a:spcBef>
                        <a:spcAft>
                          <a:spcPct val="20000"/>
                        </a:spcAft>
                        <a:buClrTx/>
                        <a:buSzTx/>
                        <a:buFont typeface="Wingdings" pitchFamily="2" charset="2"/>
                        <a:buNone/>
                        <a:tabLst/>
                      </a:pPr>
                      <a:r>
                        <a:rPr kumimoji="0" lang="en-GB" sz="1500" b="0" i="0" u="none" strike="noStrike" cap="none" normalizeH="0" baseline="0" dirty="0">
                          <a:ln>
                            <a:noFill/>
                          </a:ln>
                          <a:solidFill>
                            <a:schemeClr val="tx1"/>
                          </a:solidFill>
                          <a:effectLst/>
                          <a:latin typeface="+mn-lt"/>
                          <a:cs typeface="Times New Roman" pitchFamily="18" charset="0"/>
                        </a:rPr>
                        <a:t>Loop Resistance</a:t>
                      </a:r>
                    </a:p>
                  </a:txBody>
                  <a:tcPr marL="68580" marR="68580" marT="34290" marB="34290" anchor="ctr" horzOverflow="overflow">
                    <a:lnL w="28575"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20000"/>
                        </a:spcAft>
                        <a:buClrTx/>
                        <a:buSzTx/>
                        <a:buFont typeface="Wingdings" pitchFamily="2" charset="2"/>
                        <a:buNone/>
                        <a:tabLst/>
                      </a:pPr>
                      <a:r>
                        <a:rPr kumimoji="0" lang="en-GB" sz="1500" b="0" i="0" u="none" strike="noStrike" cap="none" normalizeH="0" baseline="0" dirty="0">
                          <a:ln>
                            <a:noFill/>
                          </a:ln>
                          <a:solidFill>
                            <a:schemeClr val="tx1"/>
                          </a:solidFill>
                          <a:effectLst/>
                          <a:latin typeface="+mn-lt"/>
                          <a:cs typeface="Times New Roman" pitchFamily="18" charset="0"/>
                        </a:rPr>
                        <a:t>≤</a:t>
                      </a:r>
                      <a:r>
                        <a:rPr kumimoji="0" lang="en-GB" sz="1500" b="0" i="0" u="none" strike="noStrike" cap="none" normalizeH="0" baseline="0" dirty="0">
                          <a:ln>
                            <a:noFill/>
                          </a:ln>
                          <a:solidFill>
                            <a:schemeClr val="tx1"/>
                          </a:solidFill>
                          <a:effectLst/>
                          <a:latin typeface="+mn-lt"/>
                          <a:cs typeface="Times New Roman" pitchFamily="18" charset="0"/>
                          <a:sym typeface="Symbol" pitchFamily="18" charset="2"/>
                        </a:rPr>
                        <a:t> </a:t>
                      </a:r>
                      <a:r>
                        <a:rPr kumimoji="0" lang="en-GB" sz="1500" b="0" i="0" u="none" strike="noStrike" cap="none" normalizeH="0" baseline="0" dirty="0">
                          <a:ln>
                            <a:noFill/>
                          </a:ln>
                          <a:solidFill>
                            <a:schemeClr val="tx1"/>
                          </a:solidFill>
                          <a:effectLst/>
                          <a:latin typeface="+mn-lt"/>
                          <a:cs typeface="Times New Roman" pitchFamily="18" charset="0"/>
                        </a:rPr>
                        <a:t>44 </a:t>
                      </a:r>
                      <a:r>
                        <a:rPr kumimoji="0" lang="en-GB" sz="1500" b="0" i="0" u="none" strike="noStrike" cap="none" normalizeH="0" baseline="0" dirty="0">
                          <a:ln>
                            <a:noFill/>
                          </a:ln>
                          <a:solidFill>
                            <a:schemeClr val="tx1"/>
                          </a:solidFill>
                          <a:effectLst/>
                          <a:latin typeface="+mn-lt"/>
                          <a:cs typeface="Times New Roman" pitchFamily="18" charset="0"/>
                          <a:sym typeface="Symbol" pitchFamily="18" charset="2"/>
                        </a:rPr>
                        <a:t></a:t>
                      </a:r>
                      <a:r>
                        <a:rPr kumimoji="0" lang="en-GB" sz="1500" b="0" i="0" u="none" strike="noStrike" cap="none" normalizeH="0" baseline="0" dirty="0">
                          <a:ln>
                            <a:noFill/>
                          </a:ln>
                          <a:solidFill>
                            <a:schemeClr val="tx1"/>
                          </a:solidFill>
                          <a:effectLst/>
                          <a:latin typeface="+mn-lt"/>
                          <a:cs typeface="Times New Roman" pitchFamily="18" charset="0"/>
                        </a:rPr>
                        <a:t>/ km</a:t>
                      </a:r>
                    </a:p>
                  </a:txBody>
                  <a:tcPr marL="68580" marR="68580" marT="34290" marB="34290" anchor="ctr" horzOverflow="overflow">
                    <a:lnL w="28575"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TextBox 1">
            <a:extLst>
              <a:ext uri="{FF2B5EF4-FFF2-40B4-BE49-F238E27FC236}">
                <a16:creationId xmlns:a16="http://schemas.microsoft.com/office/drawing/2014/main" id="{3F0A6E08-E6BD-B538-30EA-2332CF3F7F98}"/>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2137319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2" end="2"/>
                                            </p:txEl>
                                          </p:spTgt>
                                        </p:tgtEl>
                                        <p:attrNameLst>
                                          <p:attrName>style.visibility</p:attrName>
                                        </p:attrNameLst>
                                      </p:cBhvr>
                                      <p:to>
                                        <p:strVal val="visible"/>
                                      </p:to>
                                    </p:set>
                                    <p:animEffect transition="in" filter="fade">
                                      <p:cBhvr>
                                        <p:cTn id="12" dur="500"/>
                                        <p:tgtEl>
                                          <p:spTgt spid="8">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3539EF6-1710-B90E-6715-8FDE194BD84D}"/>
              </a:ext>
            </a:extLst>
          </p:cNvPr>
          <p:cNvSpPr>
            <a:spLocks noGrp="1"/>
          </p:cNvSpPr>
          <p:nvPr>
            <p:ph idx="1"/>
          </p:nvPr>
        </p:nvSpPr>
        <p:spPr>
          <a:xfrm>
            <a:off x="595299" y="939998"/>
            <a:ext cx="7886700" cy="3263504"/>
          </a:xfrm>
        </p:spPr>
        <p:txBody>
          <a:bodyPr/>
          <a:lstStyle/>
          <a:p>
            <a:pPr marL="0" indent="0">
              <a:buNone/>
            </a:pPr>
            <a:r>
              <a:rPr lang="en-US" sz="2000" dirty="0"/>
              <a:t>Because PROFIBUS DP and PROFIBUS PA use two different electrical transmission systems, DP/PA couplers are required to convert from RS485 (DP) to Manchester Bus Power (PA). </a:t>
            </a:r>
            <a:endParaRPr lang="en-GB" sz="2000" dirty="0"/>
          </a:p>
        </p:txBody>
      </p:sp>
      <p:sp>
        <p:nvSpPr>
          <p:cNvPr id="3" name="Title 2">
            <a:extLst>
              <a:ext uri="{FF2B5EF4-FFF2-40B4-BE49-F238E27FC236}">
                <a16:creationId xmlns:a16="http://schemas.microsoft.com/office/drawing/2014/main" id="{BAEB767F-5D1A-6815-3903-736448FBD470}"/>
              </a:ext>
            </a:extLst>
          </p:cNvPr>
          <p:cNvSpPr>
            <a:spLocks noGrp="1"/>
          </p:cNvSpPr>
          <p:nvPr>
            <p:ph type="title"/>
          </p:nvPr>
        </p:nvSpPr>
        <p:spPr>
          <a:xfrm>
            <a:off x="1809056" y="195712"/>
            <a:ext cx="7886700" cy="413654"/>
          </a:xfrm>
        </p:spPr>
        <p:txBody>
          <a:bodyPr/>
          <a:lstStyle/>
          <a:p>
            <a:r>
              <a:rPr lang="en-US" sz="2400" dirty="0"/>
              <a:t>PROFIBUS DP/PA Couplers</a:t>
            </a:r>
            <a:endParaRPr lang="en-GB" sz="2400" dirty="0"/>
          </a:p>
        </p:txBody>
      </p:sp>
      <p:pic>
        <p:nvPicPr>
          <p:cNvPr id="7" name="Picture 6">
            <a:extLst>
              <a:ext uri="{FF2B5EF4-FFF2-40B4-BE49-F238E27FC236}">
                <a16:creationId xmlns:a16="http://schemas.microsoft.com/office/drawing/2014/main" id="{4BF99065-4CBF-3843-EC44-9F4CC953610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6200000">
            <a:off x="3331712" y="1346474"/>
            <a:ext cx="2413873" cy="3909237"/>
          </a:xfrm>
          <a:prstGeom prst="rect">
            <a:avLst/>
          </a:prstGeom>
        </p:spPr>
      </p:pic>
      <p:sp>
        <p:nvSpPr>
          <p:cNvPr id="8" name="TextBox 7">
            <a:extLst>
              <a:ext uri="{FF2B5EF4-FFF2-40B4-BE49-F238E27FC236}">
                <a16:creationId xmlns:a16="http://schemas.microsoft.com/office/drawing/2014/main" id="{21B7BCEE-24D5-7B7A-7DF4-AAD6B61E257E}"/>
              </a:ext>
            </a:extLst>
          </p:cNvPr>
          <p:cNvSpPr txBox="1"/>
          <p:nvPr/>
        </p:nvSpPr>
        <p:spPr>
          <a:xfrm>
            <a:off x="628650" y="3119955"/>
            <a:ext cx="1258023" cy="369332"/>
          </a:xfrm>
          <a:prstGeom prst="rect">
            <a:avLst/>
          </a:prstGeom>
          <a:solidFill>
            <a:srgbClr val="FFFF00"/>
          </a:solidFill>
          <a:ln>
            <a:solidFill>
              <a:schemeClr val="tx1"/>
            </a:solidFill>
          </a:ln>
        </p:spPr>
        <p:txBody>
          <a:bodyPr wrap="square" rtlCol="0">
            <a:spAutoFit/>
          </a:bodyPr>
          <a:lstStyle/>
          <a:p>
            <a:r>
              <a:rPr lang="en-US" dirty="0"/>
              <a:t>DP/PA LINK</a:t>
            </a:r>
            <a:endParaRPr lang="en-GB" dirty="0"/>
          </a:p>
        </p:txBody>
      </p:sp>
      <p:sp>
        <p:nvSpPr>
          <p:cNvPr id="9" name="TextBox 8">
            <a:extLst>
              <a:ext uri="{FF2B5EF4-FFF2-40B4-BE49-F238E27FC236}">
                <a16:creationId xmlns:a16="http://schemas.microsoft.com/office/drawing/2014/main" id="{F075C24A-E10D-1F55-521C-EF282F13661E}"/>
              </a:ext>
            </a:extLst>
          </p:cNvPr>
          <p:cNvSpPr txBox="1"/>
          <p:nvPr/>
        </p:nvSpPr>
        <p:spPr>
          <a:xfrm>
            <a:off x="627607" y="3712211"/>
            <a:ext cx="1299571" cy="369332"/>
          </a:xfrm>
          <a:prstGeom prst="rect">
            <a:avLst/>
          </a:prstGeom>
          <a:solidFill>
            <a:srgbClr val="FFFF00"/>
          </a:solidFill>
          <a:ln>
            <a:solidFill>
              <a:schemeClr val="tx1"/>
            </a:solidFill>
          </a:ln>
        </p:spPr>
        <p:txBody>
          <a:bodyPr wrap="square" rtlCol="0">
            <a:spAutoFit/>
          </a:bodyPr>
          <a:lstStyle/>
          <a:p>
            <a:pPr algn="ctr"/>
            <a:r>
              <a:rPr lang="en-US" dirty="0"/>
              <a:t>COUPLERS</a:t>
            </a:r>
            <a:endParaRPr lang="en-GB" dirty="0"/>
          </a:p>
        </p:txBody>
      </p:sp>
      <p:sp>
        <p:nvSpPr>
          <p:cNvPr id="10" name="TextBox 9">
            <a:extLst>
              <a:ext uri="{FF2B5EF4-FFF2-40B4-BE49-F238E27FC236}">
                <a16:creationId xmlns:a16="http://schemas.microsoft.com/office/drawing/2014/main" id="{99F9FBA9-0F6B-F1DE-3CBA-4B0484ACBAF0}"/>
              </a:ext>
            </a:extLst>
          </p:cNvPr>
          <p:cNvSpPr txBox="1"/>
          <p:nvPr/>
        </p:nvSpPr>
        <p:spPr>
          <a:xfrm>
            <a:off x="6781855" y="4164802"/>
            <a:ext cx="2058526" cy="369332"/>
          </a:xfrm>
          <a:prstGeom prst="rect">
            <a:avLst/>
          </a:prstGeom>
          <a:solidFill>
            <a:srgbClr val="FFFF00"/>
          </a:solidFill>
          <a:ln>
            <a:solidFill>
              <a:schemeClr val="tx1"/>
            </a:solidFill>
          </a:ln>
        </p:spPr>
        <p:txBody>
          <a:bodyPr wrap="square" rtlCol="0">
            <a:spAutoFit/>
          </a:bodyPr>
          <a:lstStyle/>
          <a:p>
            <a:pPr algn="ctr"/>
            <a:r>
              <a:rPr lang="en-US" dirty="0"/>
              <a:t>Diagnostic Module</a:t>
            </a:r>
            <a:endParaRPr lang="en-GB" dirty="0"/>
          </a:p>
        </p:txBody>
      </p:sp>
      <p:cxnSp>
        <p:nvCxnSpPr>
          <p:cNvPr id="11" name="Straight Arrow Connector 10">
            <a:extLst>
              <a:ext uri="{FF2B5EF4-FFF2-40B4-BE49-F238E27FC236}">
                <a16:creationId xmlns:a16="http://schemas.microsoft.com/office/drawing/2014/main" id="{072E7234-DA03-2396-0AFB-7524912DD289}"/>
              </a:ext>
            </a:extLst>
          </p:cNvPr>
          <p:cNvCxnSpPr>
            <a:cxnSpLocks/>
            <a:stCxn id="8" idx="3"/>
          </p:cNvCxnSpPr>
          <p:nvPr/>
        </p:nvCxnSpPr>
        <p:spPr>
          <a:xfrm>
            <a:off x="1886673" y="3304621"/>
            <a:ext cx="934893"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38A8355-2A5F-E7AD-0518-90B3AAEEFC37}"/>
              </a:ext>
            </a:extLst>
          </p:cNvPr>
          <p:cNvCxnSpPr>
            <a:cxnSpLocks/>
          </p:cNvCxnSpPr>
          <p:nvPr/>
        </p:nvCxnSpPr>
        <p:spPr>
          <a:xfrm flipV="1">
            <a:off x="1927178" y="3489287"/>
            <a:ext cx="1503668" cy="46857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1749BCD-A2B1-E114-3EFB-F55DC4BB5671}"/>
              </a:ext>
            </a:extLst>
          </p:cNvPr>
          <p:cNvSpPr txBox="1"/>
          <p:nvPr/>
        </p:nvSpPr>
        <p:spPr>
          <a:xfrm>
            <a:off x="7420726" y="3119955"/>
            <a:ext cx="1419655" cy="646331"/>
          </a:xfrm>
          <a:prstGeom prst="rect">
            <a:avLst/>
          </a:prstGeom>
          <a:solidFill>
            <a:srgbClr val="FFFF00"/>
          </a:solidFill>
          <a:ln>
            <a:solidFill>
              <a:schemeClr val="tx1"/>
            </a:solidFill>
          </a:ln>
        </p:spPr>
        <p:txBody>
          <a:bodyPr wrap="square" rtlCol="0">
            <a:spAutoFit/>
          </a:bodyPr>
          <a:lstStyle/>
          <a:p>
            <a:pPr algn="ctr"/>
            <a:r>
              <a:rPr lang="en-US" dirty="0"/>
              <a:t>SEGMENT PROTECTOR</a:t>
            </a:r>
            <a:endParaRPr lang="en-GB" dirty="0"/>
          </a:p>
        </p:txBody>
      </p:sp>
      <p:cxnSp>
        <p:nvCxnSpPr>
          <p:cNvPr id="29" name="Straight Arrow Connector 28">
            <a:extLst>
              <a:ext uri="{FF2B5EF4-FFF2-40B4-BE49-F238E27FC236}">
                <a16:creationId xmlns:a16="http://schemas.microsoft.com/office/drawing/2014/main" id="{79EFC48B-B1B3-F21B-49D4-AA518A9A603B}"/>
              </a:ext>
            </a:extLst>
          </p:cNvPr>
          <p:cNvCxnSpPr>
            <a:cxnSpLocks/>
          </p:cNvCxnSpPr>
          <p:nvPr/>
        </p:nvCxnSpPr>
        <p:spPr>
          <a:xfrm flipH="1">
            <a:off x="5752406" y="3220965"/>
            <a:ext cx="1504921" cy="1584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E7382C7C-6328-146E-97E9-12BDAB26B504}"/>
              </a:ext>
            </a:extLst>
          </p:cNvPr>
          <p:cNvCxnSpPr>
            <a:cxnSpLocks/>
            <a:stCxn id="10" idx="1"/>
          </p:cNvCxnSpPr>
          <p:nvPr/>
        </p:nvCxnSpPr>
        <p:spPr>
          <a:xfrm flipH="1" flipV="1">
            <a:off x="4350710" y="3443120"/>
            <a:ext cx="2431145" cy="90634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F3F1DF2-E0A1-C38A-3AA2-738D5200AC6F}"/>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222504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par>
                                <p:cTn id="29" presetID="10"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2A63578-C2D4-68AF-4B4C-5D9EA0DCD2FD}"/>
              </a:ext>
            </a:extLst>
          </p:cNvPr>
          <p:cNvSpPr>
            <a:spLocks noGrp="1"/>
          </p:cNvSpPr>
          <p:nvPr>
            <p:ph idx="1"/>
          </p:nvPr>
        </p:nvSpPr>
        <p:spPr>
          <a:xfrm>
            <a:off x="154971" y="936196"/>
            <a:ext cx="4905014" cy="3524967"/>
          </a:xfrm>
        </p:spPr>
        <p:txBody>
          <a:bodyPr>
            <a:noAutofit/>
          </a:bodyPr>
          <a:lstStyle/>
          <a:p>
            <a:r>
              <a:rPr lang="en-US" dirty="0"/>
              <a:t>By default, PA devices and DP/PA couplers are for safe-area use only.</a:t>
            </a:r>
          </a:p>
          <a:p>
            <a:r>
              <a:rPr lang="en-US" dirty="0"/>
              <a:t>However as long as suitably-rated devices and couplers are used and specific rules relating to cable length and device count are followed, PROFIBUS PA can be used in Hazardous areas using EX ib or Ex </a:t>
            </a:r>
            <a:r>
              <a:rPr lang="en-US" dirty="0" err="1"/>
              <a:t>ia.</a:t>
            </a:r>
            <a:r>
              <a:rPr lang="en-US" dirty="0"/>
              <a:t> The limitations are:</a:t>
            </a:r>
          </a:p>
          <a:p>
            <a:pPr marL="0" indent="0">
              <a:buNone/>
            </a:pPr>
            <a:endParaRPr lang="en-US" dirty="0"/>
          </a:p>
          <a:p>
            <a:r>
              <a:rPr lang="en-US" dirty="0"/>
              <a:t>Cable length limited to 1km</a:t>
            </a:r>
          </a:p>
          <a:p>
            <a:r>
              <a:rPr lang="en-US" dirty="0"/>
              <a:t>Length of drops to instruments limited to 60m</a:t>
            </a:r>
          </a:p>
          <a:p>
            <a:r>
              <a:rPr lang="en-US" dirty="0"/>
              <a:t>No of devices are typically limited to around 8 per segment (FISCO rules)</a:t>
            </a:r>
            <a:endParaRPr lang="en-GB" dirty="0"/>
          </a:p>
        </p:txBody>
      </p:sp>
      <p:sp>
        <p:nvSpPr>
          <p:cNvPr id="3" name="Title 2">
            <a:extLst>
              <a:ext uri="{FF2B5EF4-FFF2-40B4-BE49-F238E27FC236}">
                <a16:creationId xmlns:a16="http://schemas.microsoft.com/office/drawing/2014/main" id="{522A681B-5B00-892C-35F1-110E0B6C7192}"/>
              </a:ext>
            </a:extLst>
          </p:cNvPr>
          <p:cNvSpPr>
            <a:spLocks noGrp="1"/>
          </p:cNvSpPr>
          <p:nvPr>
            <p:ph type="title"/>
          </p:nvPr>
        </p:nvSpPr>
        <p:spPr>
          <a:xfrm>
            <a:off x="1779862" y="184678"/>
            <a:ext cx="7886700" cy="413654"/>
          </a:xfrm>
        </p:spPr>
        <p:txBody>
          <a:bodyPr/>
          <a:lstStyle/>
          <a:p>
            <a:r>
              <a:rPr lang="en-US" sz="2400" dirty="0"/>
              <a:t>PROFIBUS PA &amp; HAZARDOUS AREAS</a:t>
            </a:r>
            <a:endParaRPr lang="en-GB" sz="2400" dirty="0"/>
          </a:p>
        </p:txBody>
      </p:sp>
      <p:pic>
        <p:nvPicPr>
          <p:cNvPr id="7" name="Picture 2">
            <a:extLst>
              <a:ext uri="{FF2B5EF4-FFF2-40B4-BE49-F238E27FC236}">
                <a16:creationId xmlns:a16="http://schemas.microsoft.com/office/drawing/2014/main" id="{FE47296C-76A6-C25C-F650-41410ECA4E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22331" y="1019324"/>
            <a:ext cx="3595842" cy="2437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a:extLst>
              <a:ext uri="{FF2B5EF4-FFF2-40B4-BE49-F238E27FC236}">
                <a16:creationId xmlns:a16="http://schemas.microsoft.com/office/drawing/2014/main" id="{91505DB2-FAA9-C8DB-B8CD-F5F1D640954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73261" y="3668092"/>
            <a:ext cx="1072529" cy="92964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BF1122C-3195-4118-139B-B4EC2381C05E}"/>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3112549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50"/>
                                        </p:tgtEl>
                                        <p:attrNameLst>
                                          <p:attrName>style.visibility</p:attrName>
                                        </p:attrNameLst>
                                      </p:cBhvr>
                                      <p:to>
                                        <p:strVal val="visible"/>
                                      </p:to>
                                    </p:set>
                                    <p:animEffect transition="in" filter="fade">
                                      <p:cBhvr>
                                        <p:cTn id="15" dur="500"/>
                                        <p:tgtEl>
                                          <p:spTgt spid="205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3" end="3"/>
                                            </p:txEl>
                                          </p:spTgt>
                                        </p:tgtEl>
                                        <p:attrNameLst>
                                          <p:attrName>style.visibility</p:attrName>
                                        </p:attrNameLst>
                                      </p:cBhvr>
                                      <p:to>
                                        <p:strVal val="visible"/>
                                      </p:to>
                                    </p:set>
                                    <p:animEffect transition="in" filter="fade">
                                      <p:cBhvr>
                                        <p:cTn id="20" dur="500"/>
                                        <p:tgtEl>
                                          <p:spTgt spid="2">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Effect transition="in" filter="fade">
                                      <p:cBhvr>
                                        <p:cTn id="25" dur="500"/>
                                        <p:tgtEl>
                                          <p:spTgt spid="2">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
                                            <p:txEl>
                                              <p:pRg st="5" end="5"/>
                                            </p:txEl>
                                          </p:spTgt>
                                        </p:tgtEl>
                                        <p:attrNameLst>
                                          <p:attrName>style.visibility</p:attrName>
                                        </p:attrNameLst>
                                      </p:cBhvr>
                                      <p:to>
                                        <p:strVal val="visible"/>
                                      </p:to>
                                    </p:set>
                                    <p:animEffect transition="in" filter="fade">
                                      <p:cBhvr>
                                        <p:cTn id="30"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4B1C0A-3B53-2E23-5665-04128BB281D9}"/>
              </a:ext>
            </a:extLst>
          </p:cNvPr>
          <p:cNvSpPr>
            <a:spLocks noGrp="1"/>
          </p:cNvSpPr>
          <p:nvPr>
            <p:ph type="title"/>
          </p:nvPr>
        </p:nvSpPr>
        <p:spPr>
          <a:xfrm>
            <a:off x="1752154" y="198533"/>
            <a:ext cx="7886700" cy="413654"/>
          </a:xfrm>
        </p:spPr>
        <p:txBody>
          <a:bodyPr/>
          <a:lstStyle/>
          <a:p>
            <a:r>
              <a:rPr lang="en-US" sz="2400" dirty="0"/>
              <a:t>APL is not just a PI project</a:t>
            </a:r>
            <a:endParaRPr lang="en-GB" sz="2400" dirty="0"/>
          </a:p>
        </p:txBody>
      </p:sp>
      <p:pic>
        <p:nvPicPr>
          <p:cNvPr id="7" name="Picture 6">
            <a:extLst>
              <a:ext uri="{FF2B5EF4-FFF2-40B4-BE49-F238E27FC236}">
                <a16:creationId xmlns:a16="http://schemas.microsoft.com/office/drawing/2014/main" id="{CAD1DC12-E313-1021-8657-C6DBE40A5866}"/>
              </a:ext>
            </a:extLst>
          </p:cNvPr>
          <p:cNvPicPr>
            <a:picLocks noChangeAspect="1"/>
          </p:cNvPicPr>
          <p:nvPr/>
        </p:nvPicPr>
        <p:blipFill>
          <a:blip r:embed="rId2"/>
          <a:stretch>
            <a:fillRect/>
          </a:stretch>
        </p:blipFill>
        <p:spPr>
          <a:xfrm>
            <a:off x="1683328" y="1078453"/>
            <a:ext cx="5604583" cy="3583600"/>
          </a:xfrm>
          <a:prstGeom prst="rect">
            <a:avLst/>
          </a:prstGeom>
        </p:spPr>
      </p:pic>
      <p:sp>
        <p:nvSpPr>
          <p:cNvPr id="2" name="TextBox 1">
            <a:extLst>
              <a:ext uri="{FF2B5EF4-FFF2-40B4-BE49-F238E27FC236}">
                <a16:creationId xmlns:a16="http://schemas.microsoft.com/office/drawing/2014/main" id="{4D304B52-A4FC-A0DC-F599-4EDA23941ABA}"/>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3625517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8BA103B-EADB-439B-03FE-10A147A7A852}"/>
              </a:ext>
            </a:extLst>
          </p:cNvPr>
          <p:cNvSpPr>
            <a:spLocks noGrp="1"/>
          </p:cNvSpPr>
          <p:nvPr>
            <p:ph idx="1"/>
          </p:nvPr>
        </p:nvSpPr>
        <p:spPr>
          <a:xfrm>
            <a:off x="429332" y="1273681"/>
            <a:ext cx="8463207" cy="1711724"/>
          </a:xfrm>
        </p:spPr>
        <p:txBody>
          <a:bodyPr/>
          <a:lstStyle/>
          <a:p>
            <a:r>
              <a:rPr lang="en-US" sz="2000" dirty="0"/>
              <a:t>APL is completely standard Ethernet and differs only in its physical aspects. i.e. Layer 1 in the 7-layer OSI model.</a:t>
            </a:r>
          </a:p>
          <a:p>
            <a:r>
              <a:rPr lang="en-US" sz="2000" dirty="0"/>
              <a:t>Unlike PROFIBUS PA, which used the PROFIBUS DP protocol, APL is an open communications standard that supports standard TCP as well as several industrial ethernet protocols</a:t>
            </a:r>
            <a:endParaRPr lang="en-GB" sz="2000" dirty="0"/>
          </a:p>
        </p:txBody>
      </p:sp>
      <p:sp>
        <p:nvSpPr>
          <p:cNvPr id="3" name="Title 2">
            <a:extLst>
              <a:ext uri="{FF2B5EF4-FFF2-40B4-BE49-F238E27FC236}">
                <a16:creationId xmlns:a16="http://schemas.microsoft.com/office/drawing/2014/main" id="{199A311D-41B8-7158-8BAB-D8D7C2401CD2}"/>
              </a:ext>
            </a:extLst>
          </p:cNvPr>
          <p:cNvSpPr>
            <a:spLocks noGrp="1"/>
          </p:cNvSpPr>
          <p:nvPr>
            <p:ph type="title"/>
          </p:nvPr>
        </p:nvSpPr>
        <p:spPr>
          <a:xfrm>
            <a:off x="1800645" y="170824"/>
            <a:ext cx="7886700" cy="413654"/>
          </a:xfrm>
        </p:spPr>
        <p:txBody>
          <a:bodyPr/>
          <a:lstStyle/>
          <a:p>
            <a:r>
              <a:rPr lang="en-US" sz="2400" dirty="0"/>
              <a:t>APL and Ethernet</a:t>
            </a:r>
            <a:endParaRPr lang="en-GB" sz="2400" dirty="0"/>
          </a:p>
        </p:txBody>
      </p:sp>
      <p:pic>
        <p:nvPicPr>
          <p:cNvPr id="1026" name="Picture 2">
            <a:extLst>
              <a:ext uri="{FF2B5EF4-FFF2-40B4-BE49-F238E27FC236}">
                <a16:creationId xmlns:a16="http://schemas.microsoft.com/office/drawing/2014/main" id="{7F7B5DE0-6152-ACE4-86C4-7A59236AE0E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7178" y="3462724"/>
            <a:ext cx="1986121" cy="78581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58CCF551-D6CC-0F23-9EF2-8A202DE61E58}"/>
              </a:ext>
            </a:extLst>
          </p:cNvPr>
          <p:cNvPicPr>
            <a:picLocks noChangeAspect="1"/>
          </p:cNvPicPr>
          <p:nvPr/>
        </p:nvPicPr>
        <p:blipFill>
          <a:blip r:embed="rId4"/>
          <a:stretch>
            <a:fillRect/>
          </a:stretch>
        </p:blipFill>
        <p:spPr>
          <a:xfrm>
            <a:off x="6377233" y="3398543"/>
            <a:ext cx="2154915" cy="883249"/>
          </a:xfrm>
          <a:prstGeom prst="rect">
            <a:avLst/>
          </a:prstGeom>
        </p:spPr>
      </p:pic>
      <p:pic>
        <p:nvPicPr>
          <p:cNvPr id="10" name="Picture 9">
            <a:extLst>
              <a:ext uri="{FF2B5EF4-FFF2-40B4-BE49-F238E27FC236}">
                <a16:creationId xmlns:a16="http://schemas.microsoft.com/office/drawing/2014/main" id="{89A89C96-FF8C-F845-D05F-89000E7CCD62}"/>
              </a:ext>
            </a:extLst>
          </p:cNvPr>
          <p:cNvPicPr>
            <a:picLocks noChangeAspect="1"/>
          </p:cNvPicPr>
          <p:nvPr/>
        </p:nvPicPr>
        <p:blipFill>
          <a:blip r:embed="rId5"/>
          <a:stretch>
            <a:fillRect/>
          </a:stretch>
        </p:blipFill>
        <p:spPr>
          <a:xfrm>
            <a:off x="3597808" y="3610361"/>
            <a:ext cx="2154915" cy="490537"/>
          </a:xfrm>
          <a:prstGeom prst="rect">
            <a:avLst/>
          </a:prstGeom>
        </p:spPr>
      </p:pic>
      <p:sp>
        <p:nvSpPr>
          <p:cNvPr id="4" name="TextBox 3">
            <a:extLst>
              <a:ext uri="{FF2B5EF4-FFF2-40B4-BE49-F238E27FC236}">
                <a16:creationId xmlns:a16="http://schemas.microsoft.com/office/drawing/2014/main" id="{56B6EBC7-CF8E-38FA-864F-41FF80126B4D}"/>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630965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6"/>
                                        </p:tgtEl>
                                        <p:attrNameLst>
                                          <p:attrName>style.visibility</p:attrName>
                                        </p:attrNameLst>
                                      </p:cBhvr>
                                      <p:to>
                                        <p:strVal val="visible"/>
                                      </p:to>
                                    </p:set>
                                    <p:animEffect transition="in" filter="fade">
                                      <p:cBhvr>
                                        <p:cTn id="11" dur="500"/>
                                        <p:tgtEl>
                                          <p:spTgt spid="102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F53126-E6D9-6BB0-E61E-822B56C7C58D}"/>
              </a:ext>
            </a:extLst>
          </p:cNvPr>
          <p:cNvSpPr>
            <a:spLocks noGrp="1"/>
          </p:cNvSpPr>
          <p:nvPr>
            <p:ph type="title"/>
          </p:nvPr>
        </p:nvSpPr>
        <p:spPr>
          <a:xfrm>
            <a:off x="1724444" y="161049"/>
            <a:ext cx="7886700" cy="413654"/>
          </a:xfrm>
        </p:spPr>
        <p:txBody>
          <a:bodyPr/>
          <a:lstStyle/>
          <a:p>
            <a:r>
              <a:rPr lang="en-US" sz="2400" dirty="0"/>
              <a:t>Conventional Ethernet v APL</a:t>
            </a:r>
            <a:endParaRPr lang="en-GB" sz="2400" dirty="0"/>
          </a:p>
        </p:txBody>
      </p:sp>
      <p:sp>
        <p:nvSpPr>
          <p:cNvPr id="9" name="TextBox 8">
            <a:extLst>
              <a:ext uri="{FF2B5EF4-FFF2-40B4-BE49-F238E27FC236}">
                <a16:creationId xmlns:a16="http://schemas.microsoft.com/office/drawing/2014/main" id="{52DF4665-7E9B-B399-5484-F7520B05D45A}"/>
              </a:ext>
            </a:extLst>
          </p:cNvPr>
          <p:cNvSpPr txBox="1"/>
          <p:nvPr/>
        </p:nvSpPr>
        <p:spPr>
          <a:xfrm>
            <a:off x="7193330" y="4529403"/>
            <a:ext cx="1513556" cy="246221"/>
          </a:xfrm>
          <a:prstGeom prst="rect">
            <a:avLst/>
          </a:prstGeom>
          <a:noFill/>
        </p:spPr>
        <p:txBody>
          <a:bodyPr wrap="none" rtlCol="0">
            <a:spAutoFit/>
          </a:bodyPr>
          <a:lstStyle/>
          <a:p>
            <a:r>
              <a:rPr lang="en-US" sz="1000" dirty="0"/>
              <a:t>Images – Endress+Hauser</a:t>
            </a:r>
            <a:endParaRPr lang="en-GB" sz="1000" dirty="0"/>
          </a:p>
        </p:txBody>
      </p:sp>
      <p:pic>
        <p:nvPicPr>
          <p:cNvPr id="11" name="Picture 10">
            <a:extLst>
              <a:ext uri="{FF2B5EF4-FFF2-40B4-BE49-F238E27FC236}">
                <a16:creationId xmlns:a16="http://schemas.microsoft.com/office/drawing/2014/main" id="{357DDD55-6909-6B2A-D199-636D5A9975A6}"/>
              </a:ext>
            </a:extLst>
          </p:cNvPr>
          <p:cNvPicPr>
            <a:picLocks noChangeAspect="1"/>
          </p:cNvPicPr>
          <p:nvPr/>
        </p:nvPicPr>
        <p:blipFill>
          <a:blip r:embed="rId2"/>
          <a:stretch>
            <a:fillRect/>
          </a:stretch>
        </p:blipFill>
        <p:spPr>
          <a:xfrm>
            <a:off x="650017" y="1041766"/>
            <a:ext cx="3921983" cy="3540990"/>
          </a:xfrm>
          <a:prstGeom prst="rect">
            <a:avLst/>
          </a:prstGeom>
        </p:spPr>
      </p:pic>
      <p:pic>
        <p:nvPicPr>
          <p:cNvPr id="13" name="Picture 12">
            <a:extLst>
              <a:ext uri="{FF2B5EF4-FFF2-40B4-BE49-F238E27FC236}">
                <a16:creationId xmlns:a16="http://schemas.microsoft.com/office/drawing/2014/main" id="{B22F5720-B8F6-1DAC-0D6A-779DA76A23AA}"/>
              </a:ext>
            </a:extLst>
          </p:cNvPr>
          <p:cNvPicPr>
            <a:picLocks noChangeAspect="1"/>
          </p:cNvPicPr>
          <p:nvPr/>
        </p:nvPicPr>
        <p:blipFill>
          <a:blip r:embed="rId3"/>
          <a:stretch>
            <a:fillRect/>
          </a:stretch>
        </p:blipFill>
        <p:spPr>
          <a:xfrm>
            <a:off x="4795151" y="1091302"/>
            <a:ext cx="3857013" cy="3491454"/>
          </a:xfrm>
          <a:prstGeom prst="rect">
            <a:avLst/>
          </a:prstGeom>
        </p:spPr>
      </p:pic>
      <p:sp>
        <p:nvSpPr>
          <p:cNvPr id="2" name="TextBox 1">
            <a:extLst>
              <a:ext uri="{FF2B5EF4-FFF2-40B4-BE49-F238E27FC236}">
                <a16:creationId xmlns:a16="http://schemas.microsoft.com/office/drawing/2014/main" id="{FE2D57E0-9542-AF24-57EE-1CF80A454DBC}"/>
              </a:ext>
            </a:extLst>
          </p:cNvPr>
          <p:cNvSpPr txBox="1"/>
          <p:nvPr/>
        </p:nvSpPr>
        <p:spPr>
          <a:xfrm>
            <a:off x="117318" y="4837198"/>
            <a:ext cx="3147015" cy="246221"/>
          </a:xfrm>
          <a:prstGeom prst="rect">
            <a:avLst/>
          </a:prstGeom>
          <a:noFill/>
        </p:spPr>
        <p:txBody>
          <a:bodyPr wrap="none" rtlCol="0">
            <a:spAutoFit/>
          </a:bodyPr>
          <a:lstStyle/>
          <a:p>
            <a:r>
              <a:rPr lang="en-US" sz="1000" dirty="0">
                <a:solidFill>
                  <a:schemeClr val="bg1">
                    <a:lumMod val="50000"/>
                  </a:schemeClr>
                </a:solidFill>
              </a:rPr>
              <a:t>PI UK – Glasgow 2023 – APL The Advanced Physical Layer</a:t>
            </a:r>
            <a:endParaRPr lang="en-GB" sz="1000" dirty="0">
              <a:solidFill>
                <a:schemeClr val="bg1">
                  <a:lumMod val="50000"/>
                </a:schemeClr>
              </a:solidFill>
            </a:endParaRPr>
          </a:p>
        </p:txBody>
      </p:sp>
    </p:spTree>
    <p:extLst>
      <p:ext uri="{BB962C8B-B14F-4D97-AF65-F5344CB8AC3E}">
        <p14:creationId xmlns:p14="http://schemas.microsoft.com/office/powerpoint/2010/main" val="1937443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PI Master">
  <a:themeElements>
    <a:clrScheme name="Profibus Nutzerorganisation">
      <a:dk1>
        <a:srgbClr val="000000"/>
      </a:dk1>
      <a:lt1>
        <a:sysClr val="window" lastClr="FFFFFF"/>
      </a:lt1>
      <a:dk2>
        <a:srgbClr val="44546A"/>
      </a:dk2>
      <a:lt2>
        <a:srgbClr val="E7E6E6"/>
      </a:lt2>
      <a:accent1>
        <a:srgbClr val="2CA67B"/>
      </a:accent1>
      <a:accent2>
        <a:srgbClr val="525765"/>
      </a:accent2>
      <a:accent3>
        <a:srgbClr val="0064AD"/>
      </a:accent3>
      <a:accent4>
        <a:srgbClr val="E2001A"/>
      </a:accent4>
      <a:accent5>
        <a:srgbClr val="FFDD0D"/>
      </a:accent5>
      <a:accent6>
        <a:srgbClr val="333333"/>
      </a:accent6>
      <a:hlink>
        <a:srgbClr val="0563C1"/>
      </a:hlink>
      <a:folHlink>
        <a:srgbClr val="954F72"/>
      </a:folHlink>
    </a:clrScheme>
    <a:fontScheme name="Profibus Nutzerorganisation">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72800" indent="-172800" algn="l">
          <a:spcBef>
            <a:spcPts val="300"/>
          </a:spcBef>
          <a:spcAft>
            <a:spcPts val="300"/>
          </a:spcAft>
          <a:buFontTx/>
          <a:buBlip>
            <a:blip xmlns:r="http://schemas.openxmlformats.org/officeDocument/2006/relationships" r:embed="rId1"/>
          </a:buBlip>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AF4AFB500AA2458770194D1FEA7740" ma:contentTypeVersion="11" ma:contentTypeDescription="Create a new document." ma:contentTypeScope="" ma:versionID="00c40767c8fda6ac08cbdb3d37e8119e">
  <xsd:schema xmlns:xsd="http://www.w3.org/2001/XMLSchema" xmlns:xs="http://www.w3.org/2001/XMLSchema" xmlns:p="http://schemas.microsoft.com/office/2006/metadata/properties" xmlns:ns2="58ab9311-7046-4bb7-974b-6fe91988ac0c" xmlns:ns3="3c75805d-aee7-4d71-a9b1-7853ef470bef" targetNamespace="http://schemas.microsoft.com/office/2006/metadata/properties" ma:root="true" ma:fieldsID="30f6fc4f9e519404c803ef2c8fd63e48" ns2:_="" ns3:_="">
    <xsd:import namespace="58ab9311-7046-4bb7-974b-6fe91988ac0c"/>
    <xsd:import namespace="3c75805d-aee7-4d71-a9b1-7853ef470b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ab9311-7046-4bb7-974b-6fe91988ac0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a5f81d0-cc8c-4396-a01c-a18c79d9454f"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c75805d-aee7-4d71-a9b1-7853ef470bef"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584abc7b-8bba-43bc-bb9f-a1ac91a9ad51}" ma:internalName="TaxCatchAll" ma:showField="CatchAllData" ma:web="3c75805d-aee7-4d71-a9b1-7853ef470be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8ab9311-7046-4bb7-974b-6fe91988ac0c">
      <Terms xmlns="http://schemas.microsoft.com/office/infopath/2007/PartnerControls"/>
    </lcf76f155ced4ddcb4097134ff3c332f>
    <TaxCatchAll xmlns="3c75805d-aee7-4d71-a9b1-7853ef470bef" xsi:nil="true"/>
    <MediaLengthInSeconds xmlns="58ab9311-7046-4bb7-974b-6fe91988ac0c" xsi:nil="true"/>
  </documentManagement>
</p:properties>
</file>

<file path=customXml/itemProps1.xml><?xml version="1.0" encoding="utf-8"?>
<ds:datastoreItem xmlns:ds="http://schemas.openxmlformats.org/officeDocument/2006/customXml" ds:itemID="{8759A584-D5F1-4080-8F4C-C0131975739D}"/>
</file>

<file path=customXml/itemProps2.xml><?xml version="1.0" encoding="utf-8"?>
<ds:datastoreItem xmlns:ds="http://schemas.openxmlformats.org/officeDocument/2006/customXml" ds:itemID="{27E75C12-7E02-4592-B8FF-2A0DD6640116}"/>
</file>

<file path=customXml/itemProps3.xml><?xml version="1.0" encoding="utf-8"?>
<ds:datastoreItem xmlns:ds="http://schemas.openxmlformats.org/officeDocument/2006/customXml" ds:itemID="{E2B6222B-EF1A-4E4B-9498-108F8D2A04FD}"/>
</file>

<file path=docProps/app.xml><?xml version="1.0" encoding="utf-8"?>
<Properties xmlns="http://schemas.openxmlformats.org/officeDocument/2006/extended-properties" xmlns:vt="http://schemas.openxmlformats.org/officeDocument/2006/docPropsVTypes">
  <Template>Office Theme</Template>
  <TotalTime>0</TotalTime>
  <Words>1763</Words>
  <Application>Microsoft Office PowerPoint</Application>
  <PresentationFormat>On-screen Show (16:9)</PresentationFormat>
  <Paragraphs>213</Paragraphs>
  <Slides>29</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5" baseType="lpstr">
      <vt:lpstr>Arial</vt:lpstr>
      <vt:lpstr>Calibri</vt:lpstr>
      <vt:lpstr>Open Sans</vt:lpstr>
      <vt:lpstr>Wingdings</vt:lpstr>
      <vt:lpstr>PI Master</vt:lpstr>
      <vt:lpstr>think-cell Folie</vt:lpstr>
      <vt:lpstr>APL – The Advanced Physical Layer </vt:lpstr>
      <vt:lpstr>APL – A game-changer for the Process Industry</vt:lpstr>
      <vt:lpstr>PowerPoint Presentation</vt:lpstr>
      <vt:lpstr>PROFIBUS PA - Cabling</vt:lpstr>
      <vt:lpstr>PROFIBUS DP/PA Couplers</vt:lpstr>
      <vt:lpstr>PROFIBUS PA &amp; HAZARDOUS AREAS</vt:lpstr>
      <vt:lpstr>APL is not just a PI project</vt:lpstr>
      <vt:lpstr>APL and Ethernet</vt:lpstr>
      <vt:lpstr>Conventional Ethernet v APL</vt:lpstr>
      <vt:lpstr>Comparisons with other Ethernet types</vt:lpstr>
      <vt:lpstr>APL – 2-Wire / Full Duplex</vt:lpstr>
      <vt:lpstr>APL Support</vt:lpstr>
      <vt:lpstr>APL – Proven Technology</vt:lpstr>
      <vt:lpstr>APL – Proven Technology</vt:lpstr>
      <vt:lpstr>Case Study - BASF</vt:lpstr>
      <vt:lpstr>APL Switches (EX ic)</vt:lpstr>
      <vt:lpstr>APL Switches (EX ia)</vt:lpstr>
      <vt:lpstr>PROFINET S2 Redundancy</vt:lpstr>
      <vt:lpstr>Typical Topologies (Symbols)</vt:lpstr>
      <vt:lpstr>Typical Topologies (Ethernet Trunk)</vt:lpstr>
      <vt:lpstr>Typical Topologies (Unpowered Trunk) </vt:lpstr>
      <vt:lpstr>Typical Topologies (Powered Trunk)</vt:lpstr>
      <vt:lpstr>APL and Hazardous Areas</vt:lpstr>
      <vt:lpstr>Spur topology with field switches  installed in Zone 2 </vt:lpstr>
      <vt:lpstr>Spur topology with field switches  installed in Zone 1 </vt:lpstr>
      <vt:lpstr>APL – Cyclic and Acyclic Data</vt:lpstr>
      <vt:lpstr>FDI and Access to Acyclic Data</vt:lpstr>
      <vt:lpstr>FDI Data Flow</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arah Eling</dc:creator>
  <cp:lastModifiedBy>Peter Thomas</cp:lastModifiedBy>
  <cp:revision>763</cp:revision>
  <cp:lastPrinted>2017-09-16T13:40:34Z</cp:lastPrinted>
  <dcterms:created xsi:type="dcterms:W3CDTF">2016-04-23T09:39:14Z</dcterms:created>
  <dcterms:modified xsi:type="dcterms:W3CDTF">2023-06-20T10:2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AF4AFB500AA2458770194D1FEA7740</vt:lpwstr>
  </property>
  <property fmtid="{D5CDD505-2E9C-101B-9397-08002B2CF9AE}" pid="3" name="Order">
    <vt:r8>17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ies>
</file>